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7" r:id="rId5"/>
  </p:sldMasterIdLst>
  <p:notesMasterIdLst>
    <p:notesMasterId r:id="rId14"/>
  </p:notesMasterIdLst>
  <p:sldIdLst>
    <p:sldId id="2147481317" r:id="rId6"/>
    <p:sldId id="283" r:id="rId7"/>
    <p:sldId id="2147483502" r:id="rId8"/>
    <p:sldId id="2146846964" r:id="rId9"/>
    <p:sldId id="2147483503" r:id="rId10"/>
    <p:sldId id="2147483504" r:id="rId11"/>
    <p:sldId id="463" r:id="rId12"/>
    <p:sldId id="2146846967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95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hra, Dheeraj" userId="3c338f4f-8b6f-45ce-83c2-688201dbf2e4" providerId="ADAL" clId="{E8203546-46F9-4286-B865-7192C70D231D}"/>
    <pc:docChg chg="undo custSel addSld delSld modSld sldOrd">
      <pc:chgData name="Mehra, Dheeraj" userId="3c338f4f-8b6f-45ce-83c2-688201dbf2e4" providerId="ADAL" clId="{E8203546-46F9-4286-B865-7192C70D231D}" dt="2024-04-19T09:42:37.678" v="476" actId="6549"/>
      <pc:docMkLst>
        <pc:docMk/>
      </pc:docMkLst>
      <pc:sldChg chg="addSp modSp">
        <pc:chgData name="Mehra, Dheeraj" userId="3c338f4f-8b6f-45ce-83c2-688201dbf2e4" providerId="ADAL" clId="{E8203546-46F9-4286-B865-7192C70D231D}" dt="2024-04-15T14:33:16.406" v="240"/>
        <pc:sldMkLst>
          <pc:docMk/>
          <pc:sldMk cId="2049168971" sldId="283"/>
        </pc:sldMkLst>
        <pc:picChg chg="add mod">
          <ac:chgData name="Mehra, Dheeraj" userId="3c338f4f-8b6f-45ce-83c2-688201dbf2e4" providerId="ADAL" clId="{E8203546-46F9-4286-B865-7192C70D231D}" dt="2024-04-15T14:33:16.406" v="240"/>
          <ac:picMkLst>
            <pc:docMk/>
            <pc:sldMk cId="2049168971" sldId="283"/>
            <ac:picMk id="15" creationId="{2BFC0D20-4AEF-718D-F1C9-2A1308665458}"/>
          </ac:picMkLst>
        </pc:picChg>
      </pc:sldChg>
      <pc:sldChg chg="modSp add mod ord">
        <pc:chgData name="Mehra, Dheeraj" userId="3c338f4f-8b6f-45ce-83c2-688201dbf2e4" providerId="ADAL" clId="{E8203546-46F9-4286-B865-7192C70D231D}" dt="2024-04-17T10:12:57.989" v="409" actId="1035"/>
        <pc:sldMkLst>
          <pc:docMk/>
          <pc:sldMk cId="2495100387" sldId="2147481317"/>
        </pc:sldMkLst>
        <pc:spChg chg="mod">
          <ac:chgData name="Mehra, Dheeraj" userId="3c338f4f-8b6f-45ce-83c2-688201dbf2e4" providerId="ADAL" clId="{E8203546-46F9-4286-B865-7192C70D231D}" dt="2024-04-17T10:12:26.802" v="369" actId="1037"/>
          <ac:spMkLst>
            <pc:docMk/>
            <pc:sldMk cId="2495100387" sldId="2147481317"/>
            <ac:spMk id="5" creationId="{8864C4E2-C0E2-84BC-DFCB-738CF78CF4B4}"/>
          </ac:spMkLst>
        </pc:spChg>
        <pc:spChg chg="mod">
          <ac:chgData name="Mehra, Dheeraj" userId="3c338f4f-8b6f-45ce-83c2-688201dbf2e4" providerId="ADAL" clId="{E8203546-46F9-4286-B865-7192C70D231D}" dt="2024-04-17T10:12:38.162" v="385" actId="113"/>
          <ac:spMkLst>
            <pc:docMk/>
            <pc:sldMk cId="2495100387" sldId="2147481317"/>
            <ac:spMk id="35" creationId="{249E2FCD-DDB6-4CEC-757D-293EFD7101EF}"/>
          </ac:spMkLst>
        </pc:spChg>
        <pc:cxnChg chg="mod">
          <ac:chgData name="Mehra, Dheeraj" userId="3c338f4f-8b6f-45ce-83c2-688201dbf2e4" providerId="ADAL" clId="{E8203546-46F9-4286-B865-7192C70D231D}" dt="2024-04-17T10:12:57.989" v="409" actId="1035"/>
          <ac:cxnSpMkLst>
            <pc:docMk/>
            <pc:sldMk cId="2495100387" sldId="2147481317"/>
            <ac:cxnSpMk id="29" creationId="{8CFA12EA-F4F5-C56F-0AA0-4147780779A5}"/>
          </ac:cxnSpMkLst>
        </pc:cxnChg>
      </pc:sldChg>
      <pc:sldChg chg="modSp mod">
        <pc:chgData name="Mehra, Dheeraj" userId="3c338f4f-8b6f-45ce-83c2-688201dbf2e4" providerId="ADAL" clId="{E8203546-46F9-4286-B865-7192C70D231D}" dt="2024-04-19T09:42:37.678" v="476" actId="6549"/>
        <pc:sldMkLst>
          <pc:docMk/>
          <pc:sldMk cId="3914346901" sldId="2147483503"/>
        </pc:sldMkLst>
        <pc:spChg chg="mod">
          <ac:chgData name="Mehra, Dheeraj" userId="3c338f4f-8b6f-45ce-83c2-688201dbf2e4" providerId="ADAL" clId="{E8203546-46F9-4286-B865-7192C70D231D}" dt="2024-04-17T10:31:36.081" v="444" actId="6549"/>
          <ac:spMkLst>
            <pc:docMk/>
            <pc:sldMk cId="3914346901" sldId="2147483503"/>
            <ac:spMk id="2" creationId="{7E1C9DE0-7F6C-0B8C-37ED-6DA111A06CC6}"/>
          </ac:spMkLst>
        </pc:spChg>
        <pc:spChg chg="mod">
          <ac:chgData name="Mehra, Dheeraj" userId="3c338f4f-8b6f-45ce-83c2-688201dbf2e4" providerId="ADAL" clId="{E8203546-46F9-4286-B865-7192C70D231D}" dt="2024-04-19T09:41:29.180" v="463" actId="14100"/>
          <ac:spMkLst>
            <pc:docMk/>
            <pc:sldMk cId="3914346901" sldId="2147483503"/>
            <ac:spMk id="4" creationId="{2CF543EB-83F6-D515-D934-80D0430EC8B3}"/>
          </ac:spMkLst>
        </pc:spChg>
        <pc:spChg chg="mod">
          <ac:chgData name="Mehra, Dheeraj" userId="3c338f4f-8b6f-45ce-83c2-688201dbf2e4" providerId="ADAL" clId="{E8203546-46F9-4286-B865-7192C70D231D}" dt="2024-04-17T10:31:52.702" v="455" actId="255"/>
          <ac:spMkLst>
            <pc:docMk/>
            <pc:sldMk cId="3914346901" sldId="2147483503"/>
            <ac:spMk id="6" creationId="{6FB81A58-6BF4-6BBE-976B-320258D3CDCB}"/>
          </ac:spMkLst>
        </pc:spChg>
        <pc:spChg chg="mod">
          <ac:chgData name="Mehra, Dheeraj" userId="3c338f4f-8b6f-45ce-83c2-688201dbf2e4" providerId="ADAL" clId="{E8203546-46F9-4286-B865-7192C70D231D}" dt="2024-04-17T09:42:23.185" v="318" actId="20577"/>
          <ac:spMkLst>
            <pc:docMk/>
            <pc:sldMk cId="3914346901" sldId="2147483503"/>
            <ac:spMk id="8" creationId="{979FAC14-B1A2-AD33-D895-A8A5B9992B8B}"/>
          </ac:spMkLst>
        </pc:spChg>
        <pc:spChg chg="mod">
          <ac:chgData name="Mehra, Dheeraj" userId="3c338f4f-8b6f-45ce-83c2-688201dbf2e4" providerId="ADAL" clId="{E8203546-46F9-4286-B865-7192C70D231D}" dt="2024-04-17T09:43:02.550" v="325" actId="14100"/>
          <ac:spMkLst>
            <pc:docMk/>
            <pc:sldMk cId="3914346901" sldId="2147483503"/>
            <ac:spMk id="9" creationId="{63BFBF52-8757-AE72-D317-59405AFE40E6}"/>
          </ac:spMkLst>
        </pc:spChg>
        <pc:spChg chg="mod">
          <ac:chgData name="Mehra, Dheeraj" userId="3c338f4f-8b6f-45ce-83c2-688201dbf2e4" providerId="ADAL" clId="{E8203546-46F9-4286-B865-7192C70D231D}" dt="2024-04-19T09:41:37.636" v="464" actId="14100"/>
          <ac:spMkLst>
            <pc:docMk/>
            <pc:sldMk cId="3914346901" sldId="2147483503"/>
            <ac:spMk id="10" creationId="{0BEA3E1C-5018-7996-9D32-79AF55991A4C}"/>
          </ac:spMkLst>
        </pc:spChg>
        <pc:spChg chg="mod">
          <ac:chgData name="Mehra, Dheeraj" userId="3c338f4f-8b6f-45ce-83c2-688201dbf2e4" providerId="ADAL" clId="{E8203546-46F9-4286-B865-7192C70D231D}" dt="2024-04-19T09:42:37.678" v="476" actId="6549"/>
          <ac:spMkLst>
            <pc:docMk/>
            <pc:sldMk cId="3914346901" sldId="2147483503"/>
            <ac:spMk id="13" creationId="{6333F3BE-A44E-9380-07BC-50C2885DB1BD}"/>
          </ac:spMkLst>
        </pc:spChg>
        <pc:spChg chg="mod">
          <ac:chgData name="Mehra, Dheeraj" userId="3c338f4f-8b6f-45ce-83c2-688201dbf2e4" providerId="ADAL" clId="{E8203546-46F9-4286-B865-7192C70D231D}" dt="2024-04-17T09:42:37.325" v="320" actId="14100"/>
          <ac:spMkLst>
            <pc:docMk/>
            <pc:sldMk cId="3914346901" sldId="2147483503"/>
            <ac:spMk id="15" creationId="{CB653A92-9B88-3A75-A94A-B9A6B7C024DE}"/>
          </ac:spMkLst>
        </pc:spChg>
        <pc:spChg chg="mod">
          <ac:chgData name="Mehra, Dheeraj" userId="3c338f4f-8b6f-45ce-83c2-688201dbf2e4" providerId="ADAL" clId="{E8203546-46F9-4286-B865-7192C70D231D}" dt="2024-04-17T09:43:20.523" v="326" actId="6549"/>
          <ac:spMkLst>
            <pc:docMk/>
            <pc:sldMk cId="3914346901" sldId="2147483503"/>
            <ac:spMk id="38" creationId="{CACDB699-3FE4-A15E-E1A7-7E4486F7998D}"/>
          </ac:spMkLst>
        </pc:spChg>
        <pc:spChg chg="mod">
          <ac:chgData name="Mehra, Dheeraj" userId="3c338f4f-8b6f-45ce-83c2-688201dbf2e4" providerId="ADAL" clId="{E8203546-46F9-4286-B865-7192C70D231D}" dt="2024-04-17T09:42:45.991" v="322" actId="14100"/>
          <ac:spMkLst>
            <pc:docMk/>
            <pc:sldMk cId="3914346901" sldId="2147483503"/>
            <ac:spMk id="39" creationId="{771A7687-6795-7BC2-A0F7-AFD72DBFB5B1}"/>
          </ac:spMkLst>
        </pc:spChg>
        <pc:spChg chg="mod">
          <ac:chgData name="Mehra, Dheeraj" userId="3c338f4f-8b6f-45ce-83c2-688201dbf2e4" providerId="ADAL" clId="{E8203546-46F9-4286-B865-7192C70D231D}" dt="2024-04-19T09:41:53.102" v="468" actId="14100"/>
          <ac:spMkLst>
            <pc:docMk/>
            <pc:sldMk cId="3914346901" sldId="2147483503"/>
            <ac:spMk id="40" creationId="{575DB9E8-C667-C3D1-0FBA-CB4C292705ED}"/>
          </ac:spMkLst>
        </pc:spChg>
        <pc:spChg chg="mod">
          <ac:chgData name="Mehra, Dheeraj" userId="3c338f4f-8b6f-45ce-83c2-688201dbf2e4" providerId="ADAL" clId="{E8203546-46F9-4286-B865-7192C70D231D}" dt="2024-04-19T09:42:08.102" v="471" actId="1035"/>
          <ac:spMkLst>
            <pc:docMk/>
            <pc:sldMk cId="3914346901" sldId="2147483503"/>
            <ac:spMk id="41" creationId="{4BF6821F-A9B4-6D27-5573-C183B61A2232}"/>
          </ac:spMkLst>
        </pc:spChg>
        <pc:spChg chg="mod">
          <ac:chgData name="Mehra, Dheeraj" userId="3c338f4f-8b6f-45ce-83c2-688201dbf2e4" providerId="ADAL" clId="{E8203546-46F9-4286-B865-7192C70D231D}" dt="2024-04-19T09:42:12.156" v="473" actId="1036"/>
          <ac:spMkLst>
            <pc:docMk/>
            <pc:sldMk cId="3914346901" sldId="2147483503"/>
            <ac:spMk id="42" creationId="{DACA30A6-EE3D-A886-EC76-5134711BD088}"/>
          </ac:spMkLst>
        </pc:spChg>
        <pc:spChg chg="mod">
          <ac:chgData name="Mehra, Dheeraj" userId="3c338f4f-8b6f-45ce-83c2-688201dbf2e4" providerId="ADAL" clId="{E8203546-46F9-4286-B865-7192C70D231D}" dt="2024-04-19T09:41:12.463" v="459" actId="1035"/>
          <ac:spMkLst>
            <pc:docMk/>
            <pc:sldMk cId="3914346901" sldId="2147483503"/>
            <ac:spMk id="51" creationId="{5E151EC1-8E5A-50EF-2685-F4203A27F3F7}"/>
          </ac:spMkLst>
        </pc:spChg>
      </pc:sldChg>
      <pc:sldChg chg="modSp mod">
        <pc:chgData name="Mehra, Dheeraj" userId="3c338f4f-8b6f-45ce-83c2-688201dbf2e4" providerId="ADAL" clId="{E8203546-46F9-4286-B865-7192C70D231D}" dt="2024-04-17T09:44:52.265" v="345" actId="14100"/>
        <pc:sldMkLst>
          <pc:docMk/>
          <pc:sldMk cId="2864632434" sldId="2147483504"/>
        </pc:sldMkLst>
        <pc:spChg chg="mod">
          <ac:chgData name="Mehra, Dheeraj" userId="3c338f4f-8b6f-45ce-83c2-688201dbf2e4" providerId="ADAL" clId="{E8203546-46F9-4286-B865-7192C70D231D}" dt="2024-04-17T09:44:40.431" v="344" actId="14100"/>
          <ac:spMkLst>
            <pc:docMk/>
            <pc:sldMk cId="2864632434" sldId="2147483504"/>
            <ac:spMk id="6" creationId="{75BDD73D-E700-F8D9-EEB7-73600BAAD5A9}"/>
          </ac:spMkLst>
        </pc:spChg>
        <pc:spChg chg="mod">
          <ac:chgData name="Mehra, Dheeraj" userId="3c338f4f-8b6f-45ce-83c2-688201dbf2e4" providerId="ADAL" clId="{E8203546-46F9-4286-B865-7192C70D231D}" dt="2024-04-17T09:44:52.265" v="345" actId="14100"/>
          <ac:spMkLst>
            <pc:docMk/>
            <pc:sldMk cId="2864632434" sldId="2147483504"/>
            <ac:spMk id="20" creationId="{8E03C31D-2B65-30E3-248F-145D7F6B1BBC}"/>
          </ac:spMkLst>
        </pc:spChg>
        <pc:spChg chg="mod">
          <ac:chgData name="Mehra, Dheeraj" userId="3c338f4f-8b6f-45ce-83c2-688201dbf2e4" providerId="ADAL" clId="{E8203546-46F9-4286-B865-7192C70D231D}" dt="2024-04-15T14:08:43.836" v="125" actId="20577"/>
          <ac:spMkLst>
            <pc:docMk/>
            <pc:sldMk cId="2864632434" sldId="2147483504"/>
            <ac:spMk id="27" creationId="{A5E3516F-2FB5-821E-C9CD-746B362F9325}"/>
          </ac:spMkLst>
        </pc:spChg>
        <pc:spChg chg="mod">
          <ac:chgData name="Mehra, Dheeraj" userId="3c338f4f-8b6f-45ce-83c2-688201dbf2e4" providerId="ADAL" clId="{E8203546-46F9-4286-B865-7192C70D231D}" dt="2024-04-15T14:11:02.930" v="160" actId="20577"/>
          <ac:spMkLst>
            <pc:docMk/>
            <pc:sldMk cId="2864632434" sldId="2147483504"/>
            <ac:spMk id="28" creationId="{6C28D921-ACFE-C25F-ED5E-A23033FFAB8D}"/>
          </ac:spMkLst>
        </pc:spChg>
        <pc:spChg chg="mod">
          <ac:chgData name="Mehra, Dheeraj" userId="3c338f4f-8b6f-45ce-83c2-688201dbf2e4" providerId="ADAL" clId="{E8203546-46F9-4286-B865-7192C70D231D}" dt="2024-04-15T14:10:43.355" v="157" actId="6549"/>
          <ac:spMkLst>
            <pc:docMk/>
            <pc:sldMk cId="2864632434" sldId="2147483504"/>
            <ac:spMk id="30" creationId="{E9428875-7924-31F3-4E73-C8697680C9A0}"/>
          </ac:spMkLst>
        </pc:spChg>
        <pc:spChg chg="mod">
          <ac:chgData name="Mehra, Dheeraj" userId="3c338f4f-8b6f-45ce-83c2-688201dbf2e4" providerId="ADAL" clId="{E8203546-46F9-4286-B865-7192C70D231D}" dt="2024-04-15T14:10:25.813" v="153" actId="255"/>
          <ac:spMkLst>
            <pc:docMk/>
            <pc:sldMk cId="2864632434" sldId="2147483504"/>
            <ac:spMk id="47" creationId="{C9650FE7-CB2C-9292-B240-70CC662952EE}"/>
          </ac:spMkLst>
        </pc:spChg>
        <pc:spChg chg="mod">
          <ac:chgData name="Mehra, Dheeraj" userId="3c338f4f-8b6f-45ce-83c2-688201dbf2e4" providerId="ADAL" clId="{E8203546-46F9-4286-B865-7192C70D231D}" dt="2024-04-15T14:10:33.081" v="155" actId="6549"/>
          <ac:spMkLst>
            <pc:docMk/>
            <pc:sldMk cId="2864632434" sldId="2147483504"/>
            <ac:spMk id="55" creationId="{FA77CB8C-3ABC-4456-F0EF-90B8A1CDB9BC}"/>
          </ac:spMkLst>
        </pc:spChg>
        <pc:spChg chg="mod">
          <ac:chgData name="Mehra, Dheeraj" userId="3c338f4f-8b6f-45ce-83c2-688201dbf2e4" providerId="ADAL" clId="{E8203546-46F9-4286-B865-7192C70D231D}" dt="2024-04-15T13:18:49.694" v="94" actId="6549"/>
          <ac:spMkLst>
            <pc:docMk/>
            <pc:sldMk cId="2864632434" sldId="2147483504"/>
            <ac:spMk id="60" creationId="{3977B965-6377-3285-B263-67B339C9FC7A}"/>
          </ac:spMkLst>
        </pc:spChg>
        <pc:spChg chg="mod">
          <ac:chgData name="Mehra, Dheeraj" userId="3c338f4f-8b6f-45ce-83c2-688201dbf2e4" providerId="ADAL" clId="{E8203546-46F9-4286-B865-7192C70D231D}" dt="2024-04-15T13:18:59.583" v="124" actId="6549"/>
          <ac:spMkLst>
            <pc:docMk/>
            <pc:sldMk cId="2864632434" sldId="2147483504"/>
            <ac:spMk id="63" creationId="{F8CD98F5-E5D1-DBFF-0475-E0FF7A88F298}"/>
          </ac:spMkLst>
        </pc:spChg>
      </pc:sldChg>
      <pc:sldChg chg="addSp modSp new del">
        <pc:chgData name="Mehra, Dheeraj" userId="3c338f4f-8b6f-45ce-83c2-688201dbf2e4" providerId="ADAL" clId="{E8203546-46F9-4286-B865-7192C70D231D}" dt="2024-04-15T14:33:30.461" v="244" actId="2696"/>
        <pc:sldMkLst>
          <pc:docMk/>
          <pc:sldMk cId="1142290624" sldId="2147483505"/>
        </pc:sldMkLst>
        <pc:picChg chg="add mod">
          <ac:chgData name="Mehra, Dheeraj" userId="3c338f4f-8b6f-45ce-83c2-688201dbf2e4" providerId="ADAL" clId="{E8203546-46F9-4286-B865-7192C70D231D}" dt="2024-04-15T14:33:25.967" v="243"/>
          <ac:picMkLst>
            <pc:docMk/>
            <pc:sldMk cId="1142290624" sldId="2147483505"/>
            <ac:picMk id="6" creationId="{12C3120E-9799-6422-EFD3-3FAE37C9837B}"/>
          </ac:picMkLst>
        </pc:picChg>
      </pc:sldChg>
      <pc:sldChg chg="new del">
        <pc:chgData name="Mehra, Dheeraj" userId="3c338f4f-8b6f-45ce-83c2-688201dbf2e4" providerId="ADAL" clId="{E8203546-46F9-4286-B865-7192C70D231D}" dt="2024-04-15T14:56:26.543" v="247" actId="47"/>
        <pc:sldMkLst>
          <pc:docMk/>
          <pc:sldMk cId="3346784897" sldId="2147483505"/>
        </pc:sldMkLst>
      </pc:sldChg>
    </pc:docChg>
  </pc:docChgLst>
  <pc:docChgLst>
    <pc:chgData name="Rai, Sourabh" userId="55ca994e-52de-4412-8273-7e6e874b982a" providerId="ADAL" clId="{3410EA29-033D-413F-9B00-74E797981D02}"/>
    <pc:docChg chg="undo custSel addSld modSld sldOrd">
      <pc:chgData name="Rai, Sourabh" userId="55ca994e-52de-4412-8273-7e6e874b982a" providerId="ADAL" clId="{3410EA29-033D-413F-9B00-74E797981D02}" dt="2024-04-17T03:28:25.501" v="1482" actId="20577"/>
      <pc:docMkLst>
        <pc:docMk/>
      </pc:docMkLst>
      <pc:sldChg chg="modSp mod">
        <pc:chgData name="Rai, Sourabh" userId="55ca994e-52de-4412-8273-7e6e874b982a" providerId="ADAL" clId="{3410EA29-033D-413F-9B00-74E797981D02}" dt="2024-04-09T16:30:19.965" v="115" actId="1037"/>
        <pc:sldMkLst>
          <pc:docMk/>
          <pc:sldMk cId="910835956" sldId="2146846958"/>
        </pc:sldMkLst>
        <pc:spChg chg="mod">
          <ac:chgData name="Rai, Sourabh" userId="55ca994e-52de-4412-8273-7e6e874b982a" providerId="ADAL" clId="{3410EA29-033D-413F-9B00-74E797981D02}" dt="2024-04-09T16:29:39.576" v="69" actId="14100"/>
          <ac:spMkLst>
            <pc:docMk/>
            <pc:sldMk cId="910835956" sldId="2146846958"/>
            <ac:spMk id="2" creationId="{DC56CB79-87D5-7E42-DE80-BEF4B281906B}"/>
          </ac:spMkLst>
        </pc:spChg>
        <pc:spChg chg="mod">
          <ac:chgData name="Rai, Sourabh" userId="55ca994e-52de-4412-8273-7e6e874b982a" providerId="ADAL" clId="{3410EA29-033D-413F-9B00-74E797981D02}" dt="2024-04-09T16:30:13.641" v="105" actId="1037"/>
          <ac:spMkLst>
            <pc:docMk/>
            <pc:sldMk cId="910835956" sldId="2146846958"/>
            <ac:spMk id="7" creationId="{B85D04BC-AF2D-0B49-710F-BB1BAC1143C7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9" creationId="{6E823D0D-9ECF-2BDE-5F9D-665D684A127D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0" creationId="{4F44C9C1-F24E-B709-734F-DCBFDA96C643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1" creationId="{D997E346-8F6C-4BE3-C293-2E6C60444865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2" creationId="{A2DBF71E-747A-9F51-313B-607B29A5BA79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3" creationId="{EFE0A629-15F7-815E-6073-90E0728604F9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4" creationId="{76E4F710-E3C2-CD27-465D-7B59DBDD9B25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5" creationId="{6DEE2B61-5375-29B9-5E12-B843518F8881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6" creationId="{46DC754C-1BD5-FAE5-E423-1419ADEB49C6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7" creationId="{878BCE52-588E-C441-7047-24604BA1722E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8" creationId="{E0D941BC-BE2D-B9F6-7B8D-7DA4DBE9A62E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9" creationId="{F430209F-F045-1E4E-EA11-AAF588B33B23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20" creationId="{0B8C3722-4212-B7FB-A66A-600A1A3E8774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21" creationId="{A71E543B-828A-2C34-7B95-0D78A8533CD4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22" creationId="{C108E966-8E01-6F23-8082-26F80BD25D7A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23" creationId="{16C8CFD0-7BBE-B346-C9CE-526A39850B91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24" creationId="{CD2DD349-9A28-0F8D-5EC0-99AA2D1DC358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25" creationId="{A9025B35-4438-9AB3-B0E2-F02FE5571543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26" creationId="{83EB74E5-DDF2-B212-F4BA-2C9B42BE8ABB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54" creationId="{7A566F73-B375-DD8F-7500-C15085CEEA62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75" creationId="{C3196309-49E7-A53B-CE2B-5A6316FA1560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78" creationId="{E20EBE56-A0B3-7EC2-805C-2AD965026CB9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79" creationId="{13561523-0F48-28CC-47A4-E0F918704039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80" creationId="{D6F0B502-F3BF-C22D-73F8-85643E3C3117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81" creationId="{F95A9F0F-8CE0-76C1-D1A7-7FC65F1EC130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82" creationId="{1FAF9CEE-9005-92BB-FC67-B056F00114BA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83" creationId="{9A419E46-3E93-BE22-F36F-DEB3866E390E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84" creationId="{C51F9572-3103-C11D-79C0-CD3767B6C6E2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85" creationId="{ED940880-B593-F1A7-D8A4-41F12023BE16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86" creationId="{88BAA7DF-5228-5BB3-4040-AE4029B3479C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87" creationId="{6A15C302-F179-8A31-CAA0-95446B0402F5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88" creationId="{B616A1E4-EEE5-D9D6-215B-DCF51A759DA9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89" creationId="{2D5F58C4-149B-14EB-A01F-C450B3F594DC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90" creationId="{972680D7-4B07-7A4E-B5E6-B87924F2BC6E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91" creationId="{750AD94C-CF28-169D-F785-9E7E058FC798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92" creationId="{35344077-2C58-ACA3-06EF-B525503F4401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93" creationId="{415C67D0-F0A7-0FD2-2F5F-18A7EE2DB649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94" creationId="{346718EF-0ADE-3C15-37C4-5B0AE9DD1AC4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95" creationId="{CF986C28-5767-C014-C6EC-462DC2AAEB8E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96" creationId="{2AFAC0FB-4FBE-383E-5BC5-548AFE245C96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97" creationId="{F8092111-5216-AD6D-BD71-77CCD2B70038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98" creationId="{1D17E5BD-47A5-B238-20AC-ACBAAD6C698C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99" creationId="{9D01F25B-C1D9-AFBB-4F36-C48857AC3F9B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00" creationId="{945F4A01-B33E-6109-D5B5-2D91C70BB328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01" creationId="{604327EB-A6B7-D830-FEC8-15A60986C826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02" creationId="{5959B7DB-5D70-0C69-B27E-210081B341E2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03" creationId="{979C10A7-1A78-C7AE-EA5B-A35E6B1A9FF5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04" creationId="{C22A0A50-73FD-BC6D-67E1-311E66A2999E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05" creationId="{6B809F4A-9613-2957-6A17-908B60741713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06" creationId="{BBEAF0AD-0F28-3F02-5552-E2C12F3F3947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07" creationId="{E17CF710-3028-1CA2-AD09-9F8A2CC093CF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08" creationId="{7765A6CA-BC99-92D0-1DA3-6E9A74E37C85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09" creationId="{F73EC2E7-F31B-E5CC-1847-6D71A222A79E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10" creationId="{C0A95939-C579-8FDC-B46A-F45AF2B88A97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11" creationId="{E99E95BE-B455-8127-B528-584EDFEEB8DA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12" creationId="{CCF1BAA5-3154-6B9D-1D2F-53C983D98876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13" creationId="{1C386AAD-0432-7035-4A14-C3B6657B8FAC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14" creationId="{20466F56-C29C-FA54-F81B-92901AE9354C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15" creationId="{68984127-B350-038F-88BD-19CA409897AA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16" creationId="{8935524E-F80F-5575-3C74-46B9755AA610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17" creationId="{897DAEE2-F98F-7FBA-25CA-15A96CEE2FD3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18" creationId="{CE51E488-AF37-050E-4D30-2C0AFAA2E8B3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19" creationId="{517313A6-3B63-5BD3-DE54-3276A13E76C2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20" creationId="{7B2A9326-2167-7ACF-F0AE-7B9936B76533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21" creationId="{F28D2D20-626E-3081-F3BE-E25658FC7997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22" creationId="{968BC96B-162E-CCA0-B253-965B9949F751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23" creationId="{7E9427BE-D7BE-28D5-1909-9F83702A3F12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24" creationId="{EDD39A36-B414-F1C0-15FB-1C33F6AF0242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25" creationId="{15A6BAC3-E3DA-5FA5-BD4B-ADF58F407394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26" creationId="{8A62DC8F-FBC6-4A8C-9B54-7625A61EF763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27" creationId="{E4030197-CBF3-DCCB-8136-55C03247DE55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28" creationId="{6DD179BE-8D5A-D77C-B192-BB65845B60E9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29" creationId="{40BC477F-4F5E-D418-3BAB-E0A5E44AF360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30" creationId="{31D757A3-DACA-2F0F-17C4-5A66E9D6F790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31" creationId="{20B31040-6B78-7DED-0533-73731D11A69F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32" creationId="{F44BE9B4-1C73-033F-E076-2C71EB7A6CBE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33" creationId="{B4A2CC5A-C2BA-4C6C-55D0-8963E1F5A68A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34" creationId="{957FDB32-CE4A-60DF-5F5A-87A6629DF37D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35" creationId="{9B2C55B3-7893-C3D6-E7DB-29FF2C488E97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36" creationId="{D2EA86FC-C228-4201-4957-471E32F5FAB6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37" creationId="{854F9180-48A0-05B0-B009-184B5AFFAB17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38" creationId="{0311E723-B969-B20D-1A7B-14701D07198E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39" creationId="{73999765-0F14-C57F-B1C0-6D999626D7E2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40" creationId="{451EBC79-B0E9-A29A-9EF5-4F02FBC52874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41" creationId="{F9EA6335-343A-F7A8-CEA1-FBC5961AFF2D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42" creationId="{3E357C8C-99C1-FEFB-DE4B-0E9DD649BD99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44" creationId="{84941638-2428-3A59-E586-4F9A72CF7017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45" creationId="{0C8922A8-3946-F2D6-59D6-5FE1D1C4B71B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46" creationId="{18B1E454-FE7F-8213-B1DC-B1F90DF6628A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47" creationId="{003E0439-D4E8-B5BA-2FFC-320CD4860B3B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48" creationId="{1264CE81-BD65-D89E-7C4E-FB20BE56D694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49" creationId="{2633A6F7-BF34-9FF4-30F8-49D0AF7A4629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50" creationId="{22B0A16B-9A3B-8E3A-1CB1-248228B66922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51" creationId="{03F9767F-CE35-7CC3-1918-05B3ABEF53E0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53" creationId="{D490B573-05A1-3F7A-CD9A-F8E5A613E999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54" creationId="{FB581F11-0434-F9D2-D4A7-9182ED9E00A3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55" creationId="{01070D3A-EC12-BB94-6988-6D58B54EDBD4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57" creationId="{BBFE2E1D-348C-2822-A286-BFFDEDCE349A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58" creationId="{3EC746AC-2CB2-1DC0-5483-475209E22FF9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59" creationId="{CC27B077-7886-AE56-5706-779D87F49290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60" creationId="{7ACB7445-2297-8B6B-1C3D-437D6FE377F5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61" creationId="{C6C101FB-0941-9187-C6AE-ABC953C7A6B2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62" creationId="{43D7E723-82AD-7680-E8D6-CDDFB9C69806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63" creationId="{39E209B6-2E1C-B039-37AB-152912967E91}"/>
          </ac:spMkLst>
        </pc:spChg>
        <pc:spChg chg="mod">
          <ac:chgData name="Rai, Sourabh" userId="55ca994e-52de-4412-8273-7e6e874b982a" providerId="ADAL" clId="{3410EA29-033D-413F-9B00-74E797981D02}" dt="2024-04-09T16:30:19.965" v="115" actId="1037"/>
          <ac:spMkLst>
            <pc:docMk/>
            <pc:sldMk cId="910835956" sldId="2146846958"/>
            <ac:spMk id="164" creationId="{FBF365E4-B05C-7565-5136-46D31EE2757A}"/>
          </ac:spMkLst>
        </pc:s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8" creationId="{EB9B49EE-72DE-07B4-5D24-BC1A03106875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34" creationId="{2C8C5943-118D-BB29-C481-45AC5395D694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45" creationId="{14F4E9A4-013B-93EA-5316-E00169C6127E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51" creationId="{B2562687-5BBF-BCC6-07AA-3F253B9E0560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53" creationId="{B3B3E024-0E1F-8156-0D81-E43E85500572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55" creationId="{6A36E3CA-16D1-6251-5315-A83A314F45A0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56" creationId="{D539ACEB-A86C-A495-6956-B92C812FD0D1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57" creationId="{8B8D3382-C88D-83CF-7AD4-DAB619ABCB3D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58" creationId="{43391675-09FF-3586-2E7B-07DA05B84C47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59" creationId="{FEBBE6CD-0DC4-0CCC-60D9-7CFB974DB9CE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60" creationId="{BBDBED19-623E-6ABA-7E58-5EF4604A4F60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61" creationId="{CE49015E-0A3D-0AD0-7C19-19AE0066410D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62" creationId="{A00815EC-41BE-E734-6DDB-9DB2B61D4807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63" creationId="{178D419F-89B6-D211-03EC-FADC8437F458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64" creationId="{12F26822-180A-0911-6894-054C386F306D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65" creationId="{AB9EAC18-DD7D-4EDF-1620-E3C86E7F3A97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66" creationId="{597D7FF7-EF98-ACBA-FD45-E4917D2C3F69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67" creationId="{7C4794DE-DE88-ACCF-0053-E1252A24C496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68" creationId="{C491C459-97ED-4C6F-B19C-706BEFD45A70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69" creationId="{1A2D04A3-CADE-68DB-3503-DEF850A9D9E1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70" creationId="{2EBAACD6-561A-AD82-DAD7-10DDB7C64644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71" creationId="{2969EC31-8B03-009C-EE19-88880B3AB097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72" creationId="{17C27F1C-D47F-2989-6055-347F6AC614EA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73" creationId="{BA6104DA-5484-D34F-7DA6-DC3672C12EE0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74" creationId="{4D946358-5819-FE39-381D-7C8F5D22C348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143" creationId="{7B183462-7B49-54A3-EF9B-238B138F3649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152" creationId="{F6BB4683-B59A-634A-1C92-0B3C9BD02F11}"/>
          </ac:grpSpMkLst>
        </pc:grpChg>
        <pc:grpChg chg="mod">
          <ac:chgData name="Rai, Sourabh" userId="55ca994e-52de-4412-8273-7e6e874b982a" providerId="ADAL" clId="{3410EA29-033D-413F-9B00-74E797981D02}" dt="2024-04-09T16:30:19.965" v="115" actId="1037"/>
          <ac:grpSpMkLst>
            <pc:docMk/>
            <pc:sldMk cId="910835956" sldId="2146846958"/>
            <ac:grpSpMk id="156" creationId="{D48C67CF-1CFF-BF4E-09E0-7E69624282BE}"/>
          </ac:grpSpMkLst>
        </pc:grp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27" creationId="{DA03EC2B-E1A5-9F9A-A8B4-9EE426998F72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28" creationId="{024DF40E-45BD-CF3A-7090-E1A59E4F23B0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29" creationId="{623443AC-D835-F49D-014A-1AF5542A2BF3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30" creationId="{AB589CD0-E845-FDE0-DB5D-13CF4B2DE27F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31" creationId="{ADA17FFB-EFC3-9BFF-8E36-3CFECE6A4B8C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32" creationId="{03093BD2-844E-146F-6AB1-1CC42D4B2F9B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33" creationId="{F2BA85C9-8D56-0DA8-25FA-DB8A165FF04F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35" creationId="{F17D4C86-2990-D943-E13C-90C1B0806E27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36" creationId="{1B7B2D0A-786B-461B-FF5F-852FA23F88B6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37" creationId="{CE070A86-42DF-18C9-10D6-DB60E8E9E8F2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38" creationId="{D6AFE8BB-B972-E64D-587E-1EEFD53DADF6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39" creationId="{0D5DD26B-1936-6C11-F0B1-76F3ADA1E7CA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40" creationId="{3CE98E17-C2D9-283A-63B2-4641E2C68409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41" creationId="{FDA31479-53E1-532A-07F6-15E0BFC93927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42" creationId="{6D21D438-5D62-1719-5608-31FB77063F07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43" creationId="{E58A608C-9A65-4C86-90AD-1720DA883872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44" creationId="{4F21022F-374D-D11F-8298-ABB610F81C03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46" creationId="{AF264C4D-3681-6C08-5602-D9536ACE5ACF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47" creationId="{9804B332-46D1-0EC1-1A55-EB535463B953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48" creationId="{B29B69D6-CCF0-FAD9-0F53-219C2BC51F4B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49" creationId="{169C37FD-0F8E-0B77-1F27-9814B184624F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50" creationId="{136EDCF0-CDA9-9CC9-960B-399D508DA057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52" creationId="{983C7BFA-5E22-686B-C5CC-43C5CADCA891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76" creationId="{773B7745-70F4-4025-6E22-1530A695BD51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77" creationId="{633C7EB0-2234-007C-D765-5FC852B26961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165" creationId="{C3A84B07-120B-23A0-EB14-35BCBEA947D6}"/>
          </ac:cxnSpMkLst>
        </pc:cxnChg>
        <pc:cxnChg chg="mod">
          <ac:chgData name="Rai, Sourabh" userId="55ca994e-52de-4412-8273-7e6e874b982a" providerId="ADAL" clId="{3410EA29-033D-413F-9B00-74E797981D02}" dt="2024-04-09T16:30:19.965" v="115" actId="1037"/>
          <ac:cxnSpMkLst>
            <pc:docMk/>
            <pc:sldMk cId="910835956" sldId="2146846958"/>
            <ac:cxnSpMk id="166" creationId="{B29FAB06-C3FE-86C8-0DF8-47F6ADCC52C5}"/>
          </ac:cxnSpMkLst>
        </pc:cxnChg>
      </pc:sldChg>
      <pc:sldChg chg="modSp mod">
        <pc:chgData name="Rai, Sourabh" userId="55ca994e-52de-4412-8273-7e6e874b982a" providerId="ADAL" clId="{3410EA29-033D-413F-9B00-74E797981D02}" dt="2024-04-14T16:27:44.359" v="1358" actId="20577"/>
        <pc:sldMkLst>
          <pc:docMk/>
          <pc:sldMk cId="3543267808" sldId="2147483502"/>
        </pc:sldMkLst>
        <pc:spChg chg="mod">
          <ac:chgData name="Rai, Sourabh" userId="55ca994e-52de-4412-8273-7e6e874b982a" providerId="ADAL" clId="{3410EA29-033D-413F-9B00-74E797981D02}" dt="2024-04-14T16:27:44.359" v="1358" actId="20577"/>
          <ac:spMkLst>
            <pc:docMk/>
            <pc:sldMk cId="3543267808" sldId="2147483502"/>
            <ac:spMk id="72" creationId="{6E504868-D9F3-7043-EAC2-76B6A0385677}"/>
          </ac:spMkLst>
        </pc:spChg>
      </pc:sldChg>
      <pc:sldChg chg="addSp delSp modSp mod ord">
        <pc:chgData name="Rai, Sourabh" userId="55ca994e-52de-4412-8273-7e6e874b982a" providerId="ADAL" clId="{3410EA29-033D-413F-9B00-74E797981D02}" dt="2024-04-17T03:18:38.508" v="1438" actId="20577"/>
        <pc:sldMkLst>
          <pc:docMk/>
          <pc:sldMk cId="3914346901" sldId="2147483503"/>
        </pc:sldMkLst>
        <pc:spChg chg="mod">
          <ac:chgData name="Rai, Sourabh" userId="55ca994e-52de-4412-8273-7e6e874b982a" providerId="ADAL" clId="{3410EA29-033D-413F-9B00-74E797981D02}" dt="2024-04-17T03:18:17.439" v="1422" actId="1076"/>
          <ac:spMkLst>
            <pc:docMk/>
            <pc:sldMk cId="3914346901" sldId="2147483503"/>
            <ac:spMk id="4" creationId="{2CF543EB-83F6-D515-D934-80D0430EC8B3}"/>
          </ac:spMkLst>
        </pc:spChg>
        <pc:spChg chg="mod">
          <ac:chgData name="Rai, Sourabh" userId="55ca994e-52de-4412-8273-7e6e874b982a" providerId="ADAL" clId="{3410EA29-033D-413F-9B00-74E797981D02}" dt="2024-04-16T13:31:18.127" v="1415" actId="14100"/>
          <ac:spMkLst>
            <pc:docMk/>
            <pc:sldMk cId="3914346901" sldId="2147483503"/>
            <ac:spMk id="5" creationId="{AF72EEA6-437F-0DFD-0C7A-6E558C68712D}"/>
          </ac:spMkLst>
        </pc:spChg>
        <pc:spChg chg="mod">
          <ac:chgData name="Rai, Sourabh" userId="55ca994e-52de-4412-8273-7e6e874b982a" providerId="ADAL" clId="{3410EA29-033D-413F-9B00-74E797981D02}" dt="2024-04-14T16:08:03.522" v="888" actId="255"/>
          <ac:spMkLst>
            <pc:docMk/>
            <pc:sldMk cId="3914346901" sldId="2147483503"/>
            <ac:spMk id="6" creationId="{6FB81A58-6BF4-6BBE-976B-320258D3CDCB}"/>
          </ac:spMkLst>
        </pc:spChg>
        <pc:spChg chg="mod">
          <ac:chgData name="Rai, Sourabh" userId="55ca994e-52de-4412-8273-7e6e874b982a" providerId="ADAL" clId="{3410EA29-033D-413F-9B00-74E797981D02}" dt="2024-04-16T02:27:15.339" v="1409" actId="1076"/>
          <ac:spMkLst>
            <pc:docMk/>
            <pc:sldMk cId="3914346901" sldId="2147483503"/>
            <ac:spMk id="8" creationId="{979FAC14-B1A2-AD33-D895-A8A5B9992B8B}"/>
          </ac:spMkLst>
        </pc:spChg>
        <pc:spChg chg="add mod">
          <ac:chgData name="Rai, Sourabh" userId="55ca994e-52de-4412-8273-7e6e874b982a" providerId="ADAL" clId="{3410EA29-033D-413F-9B00-74E797981D02}" dt="2024-04-17T03:18:12.230" v="1421" actId="1076"/>
          <ac:spMkLst>
            <pc:docMk/>
            <pc:sldMk cId="3914346901" sldId="2147483503"/>
            <ac:spMk id="9" creationId="{63BFBF52-8757-AE72-D317-59405AFE40E6}"/>
          </ac:spMkLst>
        </pc:spChg>
        <pc:spChg chg="mod">
          <ac:chgData name="Rai, Sourabh" userId="55ca994e-52de-4412-8273-7e6e874b982a" providerId="ADAL" clId="{3410EA29-033D-413F-9B00-74E797981D02}" dt="2024-04-16T02:27:07.216" v="1407" actId="1076"/>
          <ac:spMkLst>
            <pc:docMk/>
            <pc:sldMk cId="3914346901" sldId="2147483503"/>
            <ac:spMk id="10" creationId="{0BEA3E1C-5018-7996-9D32-79AF55991A4C}"/>
          </ac:spMkLst>
        </pc:spChg>
        <pc:spChg chg="mod">
          <ac:chgData name="Rai, Sourabh" userId="55ca994e-52de-4412-8273-7e6e874b982a" providerId="ADAL" clId="{3410EA29-033D-413F-9B00-74E797981D02}" dt="2024-04-14T16:15:01.369" v="1062" actId="14100"/>
          <ac:spMkLst>
            <pc:docMk/>
            <pc:sldMk cId="3914346901" sldId="2147483503"/>
            <ac:spMk id="13" creationId="{6333F3BE-A44E-9380-07BC-50C2885DB1BD}"/>
          </ac:spMkLst>
        </pc:spChg>
        <pc:spChg chg="del">
          <ac:chgData name="Rai, Sourabh" userId="55ca994e-52de-4412-8273-7e6e874b982a" providerId="ADAL" clId="{3410EA29-033D-413F-9B00-74E797981D02}" dt="2024-04-14T16:05:38.547" v="860" actId="478"/>
          <ac:spMkLst>
            <pc:docMk/>
            <pc:sldMk cId="3914346901" sldId="2147483503"/>
            <ac:spMk id="14" creationId="{2B8D4BFF-316A-41AF-26B5-77D186F98941}"/>
          </ac:spMkLst>
        </pc:spChg>
        <pc:spChg chg="del">
          <ac:chgData name="Rai, Sourabh" userId="55ca994e-52de-4412-8273-7e6e874b982a" providerId="ADAL" clId="{3410EA29-033D-413F-9B00-74E797981D02}" dt="2024-04-14T16:05:52.502" v="864" actId="478"/>
          <ac:spMkLst>
            <pc:docMk/>
            <pc:sldMk cId="3914346901" sldId="2147483503"/>
            <ac:spMk id="15" creationId="{1152BD26-8042-08BE-2C36-D6D0774341AC}"/>
          </ac:spMkLst>
        </pc:spChg>
        <pc:spChg chg="add mod">
          <ac:chgData name="Rai, Sourabh" userId="55ca994e-52de-4412-8273-7e6e874b982a" providerId="ADAL" clId="{3410EA29-033D-413F-9B00-74E797981D02}" dt="2024-04-17T03:18:38.508" v="1438" actId="20577"/>
          <ac:spMkLst>
            <pc:docMk/>
            <pc:sldMk cId="3914346901" sldId="2147483503"/>
            <ac:spMk id="15" creationId="{CB653A92-9B88-3A75-A94A-B9A6B7C024DE}"/>
          </ac:spMkLst>
        </pc:spChg>
        <pc:spChg chg="del">
          <ac:chgData name="Rai, Sourabh" userId="55ca994e-52de-4412-8273-7e6e874b982a" providerId="ADAL" clId="{3410EA29-033D-413F-9B00-74E797981D02}" dt="2024-04-14T16:05:46.485" v="862" actId="478"/>
          <ac:spMkLst>
            <pc:docMk/>
            <pc:sldMk cId="3914346901" sldId="2147483503"/>
            <ac:spMk id="34" creationId="{BA8FE683-935C-9CED-E1A9-245194DB1ECC}"/>
          </ac:spMkLst>
        </pc:spChg>
        <pc:spChg chg="del">
          <ac:chgData name="Rai, Sourabh" userId="55ca994e-52de-4412-8273-7e6e874b982a" providerId="ADAL" clId="{3410EA29-033D-413F-9B00-74E797981D02}" dt="2024-04-14T16:05:49.215" v="863" actId="478"/>
          <ac:spMkLst>
            <pc:docMk/>
            <pc:sldMk cId="3914346901" sldId="2147483503"/>
            <ac:spMk id="35" creationId="{2D38DBE4-21CA-62EA-9C1D-6F93A29BA8F3}"/>
          </ac:spMkLst>
        </pc:spChg>
        <pc:spChg chg="add mod">
          <ac:chgData name="Rai, Sourabh" userId="55ca994e-52de-4412-8273-7e6e874b982a" providerId="ADAL" clId="{3410EA29-033D-413F-9B00-74E797981D02}" dt="2024-04-16T13:31:54.656" v="1419" actId="1076"/>
          <ac:spMkLst>
            <pc:docMk/>
            <pc:sldMk cId="3914346901" sldId="2147483503"/>
            <ac:spMk id="39" creationId="{771A7687-6795-7BC2-A0F7-AFD72DBFB5B1}"/>
          </ac:spMkLst>
        </pc:spChg>
        <pc:spChg chg="add mod">
          <ac:chgData name="Rai, Sourabh" userId="55ca994e-52de-4412-8273-7e6e874b982a" providerId="ADAL" clId="{3410EA29-033D-413F-9B00-74E797981D02}" dt="2024-04-16T13:31:48.229" v="1418" actId="1076"/>
          <ac:spMkLst>
            <pc:docMk/>
            <pc:sldMk cId="3914346901" sldId="2147483503"/>
            <ac:spMk id="40" creationId="{575DB9E8-C667-C3D1-0FBA-CB4C292705ED}"/>
          </ac:spMkLst>
        </pc:spChg>
        <pc:spChg chg="add mod">
          <ac:chgData name="Rai, Sourabh" userId="55ca994e-52de-4412-8273-7e6e874b982a" providerId="ADAL" clId="{3410EA29-033D-413F-9B00-74E797981D02}" dt="2024-04-16T13:31:39.083" v="1417" actId="1076"/>
          <ac:spMkLst>
            <pc:docMk/>
            <pc:sldMk cId="3914346901" sldId="2147483503"/>
            <ac:spMk id="41" creationId="{4BF6821F-A9B4-6D27-5573-C183B61A2232}"/>
          </ac:spMkLst>
        </pc:spChg>
        <pc:spChg chg="add mod">
          <ac:chgData name="Rai, Sourabh" userId="55ca994e-52de-4412-8273-7e6e874b982a" providerId="ADAL" clId="{3410EA29-033D-413F-9B00-74E797981D02}" dt="2024-04-16T13:31:29.774" v="1416" actId="1076"/>
          <ac:spMkLst>
            <pc:docMk/>
            <pc:sldMk cId="3914346901" sldId="2147483503"/>
            <ac:spMk id="42" creationId="{DACA30A6-EE3D-A886-EC76-5134711BD088}"/>
          </ac:spMkLst>
        </pc:spChg>
        <pc:spChg chg="add mod">
          <ac:chgData name="Rai, Sourabh" userId="55ca994e-52de-4412-8273-7e6e874b982a" providerId="ADAL" clId="{3410EA29-033D-413F-9B00-74E797981D02}" dt="2024-04-16T13:31:11.686" v="1414" actId="1076"/>
          <ac:spMkLst>
            <pc:docMk/>
            <pc:sldMk cId="3914346901" sldId="2147483503"/>
            <ac:spMk id="43" creationId="{7E3DE102-C271-645F-7AC9-D41C7691F3C9}"/>
          </ac:spMkLst>
        </pc:spChg>
        <pc:spChg chg="add del mod">
          <ac:chgData name="Rai, Sourabh" userId="55ca994e-52de-4412-8273-7e6e874b982a" providerId="ADAL" clId="{3410EA29-033D-413F-9B00-74E797981D02}" dt="2024-04-14T16:06:47.581" v="879" actId="478"/>
          <ac:spMkLst>
            <pc:docMk/>
            <pc:sldMk cId="3914346901" sldId="2147483503"/>
            <ac:spMk id="44" creationId="{B5340625-279B-8A6C-5CB4-2B4A86451C00}"/>
          </ac:spMkLst>
        </pc:spChg>
        <pc:spChg chg="add mod">
          <ac:chgData name="Rai, Sourabh" userId="55ca994e-52de-4412-8273-7e6e874b982a" providerId="ADAL" clId="{3410EA29-033D-413F-9B00-74E797981D02}" dt="2024-04-17T03:18:08.263" v="1420" actId="1076"/>
          <ac:spMkLst>
            <pc:docMk/>
            <pc:sldMk cId="3914346901" sldId="2147483503"/>
            <ac:spMk id="51" creationId="{5E151EC1-8E5A-50EF-2685-F4203A27F3F7}"/>
          </ac:spMkLst>
        </pc:spChg>
        <pc:grpChg chg="mod">
          <ac:chgData name="Rai, Sourabh" userId="55ca994e-52de-4412-8273-7e6e874b982a" providerId="ADAL" clId="{3410EA29-033D-413F-9B00-74E797981D02}" dt="2024-04-14T16:14:53.023" v="1061" actId="14100"/>
          <ac:grpSpMkLst>
            <pc:docMk/>
            <pc:sldMk cId="3914346901" sldId="2147483503"/>
            <ac:grpSpMk id="3" creationId="{29CEA9C3-3DC3-8C19-14A7-9B6190CCB965}"/>
          </ac:grpSpMkLst>
        </pc:grpChg>
        <pc:grpChg chg="del">
          <ac:chgData name="Rai, Sourabh" userId="55ca994e-52de-4412-8273-7e6e874b982a" providerId="ADAL" clId="{3410EA29-033D-413F-9B00-74E797981D02}" dt="2024-04-14T16:05:42.771" v="861" actId="478"/>
          <ac:grpSpMkLst>
            <pc:docMk/>
            <pc:sldMk cId="3914346901" sldId="2147483503"/>
            <ac:grpSpMk id="16" creationId="{DF23437F-5A51-994F-FD39-7156AB6CF2CF}"/>
          </ac:grpSpMkLst>
        </pc:grpChg>
        <pc:cxnChg chg="mod">
          <ac:chgData name="Rai, Sourabh" userId="55ca994e-52de-4412-8273-7e6e874b982a" providerId="ADAL" clId="{3410EA29-033D-413F-9B00-74E797981D02}" dt="2024-04-16T13:31:11.686" v="1414" actId="1076"/>
          <ac:cxnSpMkLst>
            <pc:docMk/>
            <pc:sldMk cId="3914346901" sldId="2147483503"/>
            <ac:cxnSpMk id="11" creationId="{1CC49458-437C-BB6C-1F10-0B17578EB77E}"/>
          </ac:cxnSpMkLst>
        </pc:cxnChg>
        <pc:cxnChg chg="mod">
          <ac:chgData name="Rai, Sourabh" userId="55ca994e-52de-4412-8273-7e6e874b982a" providerId="ADAL" clId="{3410EA29-033D-413F-9B00-74E797981D02}" dt="2024-04-14T16:15:56.106" v="1128" actId="14100"/>
          <ac:cxnSpMkLst>
            <pc:docMk/>
            <pc:sldMk cId="3914346901" sldId="2147483503"/>
            <ac:cxnSpMk id="12" creationId="{3CC7AE6C-3142-04AA-A038-870470B81F5D}"/>
          </ac:cxnSpMkLst>
        </pc:cxnChg>
        <pc:cxnChg chg="del">
          <ac:chgData name="Rai, Sourabh" userId="55ca994e-52de-4412-8273-7e6e874b982a" providerId="ADAL" clId="{3410EA29-033D-413F-9B00-74E797981D02}" dt="2024-04-14T16:05:54.452" v="865" actId="478"/>
          <ac:cxnSpMkLst>
            <pc:docMk/>
            <pc:sldMk cId="3914346901" sldId="2147483503"/>
            <ac:cxnSpMk id="36" creationId="{A02B2981-DDF2-F676-5038-F524CA15EEF3}"/>
          </ac:cxnSpMkLst>
        </pc:cxnChg>
      </pc:sldChg>
      <pc:sldChg chg="addSp delSp modSp add mod">
        <pc:chgData name="Rai, Sourabh" userId="55ca994e-52de-4412-8273-7e6e874b982a" providerId="ADAL" clId="{3410EA29-033D-413F-9B00-74E797981D02}" dt="2024-04-17T03:28:25.501" v="1482" actId="20577"/>
        <pc:sldMkLst>
          <pc:docMk/>
          <pc:sldMk cId="2864632434" sldId="2147483504"/>
        </pc:sldMkLst>
        <pc:spChg chg="mod">
          <ac:chgData name="Rai, Sourabh" userId="55ca994e-52de-4412-8273-7e6e874b982a" providerId="ADAL" clId="{3410EA29-033D-413F-9B00-74E797981D02}" dt="2024-04-14T16:16:28.388" v="1164" actId="20577"/>
          <ac:spMkLst>
            <pc:docMk/>
            <pc:sldMk cId="2864632434" sldId="2147483504"/>
            <ac:spMk id="2" creationId="{96571C53-11C0-2BC0-A25A-8CD5C0C4E2B2}"/>
          </ac:spMkLst>
        </pc:spChg>
        <pc:spChg chg="add del mod">
          <ac:chgData name="Rai, Sourabh" userId="55ca994e-52de-4412-8273-7e6e874b982a" providerId="ADAL" clId="{3410EA29-033D-413F-9B00-74E797981D02}" dt="2024-04-17T03:28:07.992" v="1469" actId="478"/>
          <ac:spMkLst>
            <pc:docMk/>
            <pc:sldMk cId="2864632434" sldId="2147483504"/>
            <ac:spMk id="3" creationId="{EDB3A940-AA00-6FC6-4A57-EEF3A774F47B}"/>
          </ac:spMkLst>
        </pc:spChg>
        <pc:spChg chg="add mod">
          <ac:chgData name="Rai, Sourabh" userId="55ca994e-52de-4412-8273-7e6e874b982a" providerId="ADAL" clId="{3410EA29-033D-413F-9B00-74E797981D02}" dt="2024-04-17T03:27:27.810" v="1468" actId="20577"/>
          <ac:spMkLst>
            <pc:docMk/>
            <pc:sldMk cId="2864632434" sldId="2147483504"/>
            <ac:spMk id="4" creationId="{5C623012-6A01-5E93-BB8B-BA3FAB561EEC}"/>
          </ac:spMkLst>
        </pc:spChg>
        <pc:spChg chg="del">
          <ac:chgData name="Rai, Sourabh" userId="55ca994e-52de-4412-8273-7e6e874b982a" providerId="ADAL" clId="{3410EA29-033D-413F-9B00-74E797981D02}" dt="2024-04-14T15:39:15.180" v="120" actId="478"/>
          <ac:spMkLst>
            <pc:docMk/>
            <pc:sldMk cId="2864632434" sldId="2147483504"/>
            <ac:spMk id="4" creationId="{9F41E0D5-B33B-83EC-940D-2161D1C5263E}"/>
          </ac:spMkLst>
        </pc:spChg>
        <pc:spChg chg="add mod">
          <ac:chgData name="Rai, Sourabh" userId="55ca994e-52de-4412-8273-7e6e874b982a" providerId="ADAL" clId="{3410EA29-033D-413F-9B00-74E797981D02}" dt="2024-04-17T03:28:25.501" v="1482" actId="20577"/>
          <ac:spMkLst>
            <pc:docMk/>
            <pc:sldMk cId="2864632434" sldId="2147483504"/>
            <ac:spMk id="6" creationId="{75BDD73D-E700-F8D9-EEB7-73600BAAD5A9}"/>
          </ac:spMkLst>
        </pc:spChg>
        <pc:spChg chg="mod">
          <ac:chgData name="Rai, Sourabh" userId="55ca994e-52de-4412-8273-7e6e874b982a" providerId="ADAL" clId="{3410EA29-033D-413F-9B00-74E797981D02}" dt="2024-04-14T15:43:40.993" v="459" actId="1036"/>
          <ac:spMkLst>
            <pc:docMk/>
            <pc:sldMk cId="2864632434" sldId="2147483504"/>
            <ac:spMk id="14" creationId="{3FBE85AF-B680-7216-1D35-24E69C59F81B}"/>
          </ac:spMkLst>
        </pc:spChg>
        <pc:spChg chg="mod">
          <ac:chgData name="Rai, Sourabh" userId="55ca994e-52de-4412-8273-7e6e874b982a" providerId="ADAL" clId="{3410EA29-033D-413F-9B00-74E797981D02}" dt="2024-04-14T16:21:56.378" v="1265" actId="1036"/>
          <ac:spMkLst>
            <pc:docMk/>
            <pc:sldMk cId="2864632434" sldId="2147483504"/>
            <ac:spMk id="15" creationId="{E6AF33CC-6BE1-B8D0-E265-73B74B04F1B3}"/>
          </ac:spMkLst>
        </pc:spChg>
        <pc:spChg chg="mod">
          <ac:chgData name="Rai, Sourabh" userId="55ca994e-52de-4412-8273-7e6e874b982a" providerId="ADAL" clId="{3410EA29-033D-413F-9B00-74E797981D02}" dt="2024-04-14T15:56:32.639" v="780" actId="20577"/>
          <ac:spMkLst>
            <pc:docMk/>
            <pc:sldMk cId="2864632434" sldId="2147483504"/>
            <ac:spMk id="18" creationId="{947C4068-188C-B540-3B4E-D1C2A93F26F2}"/>
          </ac:spMkLst>
        </pc:spChg>
        <pc:spChg chg="mod">
          <ac:chgData name="Rai, Sourabh" userId="55ca994e-52de-4412-8273-7e6e874b982a" providerId="ADAL" clId="{3410EA29-033D-413F-9B00-74E797981D02}" dt="2024-04-14T16:20:45.430" v="1233" actId="108"/>
          <ac:spMkLst>
            <pc:docMk/>
            <pc:sldMk cId="2864632434" sldId="2147483504"/>
            <ac:spMk id="20" creationId="{8E03C31D-2B65-30E3-248F-145D7F6B1BBC}"/>
          </ac:spMkLst>
        </pc:spChg>
        <pc:spChg chg="mod">
          <ac:chgData name="Rai, Sourabh" userId="55ca994e-52de-4412-8273-7e6e874b982a" providerId="ADAL" clId="{3410EA29-033D-413F-9B00-74E797981D02}" dt="2024-04-14T16:03:40.383" v="859" actId="20577"/>
          <ac:spMkLst>
            <pc:docMk/>
            <pc:sldMk cId="2864632434" sldId="2147483504"/>
            <ac:spMk id="27" creationId="{A5E3516F-2FB5-821E-C9CD-746B362F9325}"/>
          </ac:spMkLst>
        </pc:spChg>
        <pc:spChg chg="mod">
          <ac:chgData name="Rai, Sourabh" userId="55ca994e-52de-4412-8273-7e6e874b982a" providerId="ADAL" clId="{3410EA29-033D-413F-9B00-74E797981D02}" dt="2024-04-14T16:29:44.648" v="1366" actId="20577"/>
          <ac:spMkLst>
            <pc:docMk/>
            <pc:sldMk cId="2864632434" sldId="2147483504"/>
            <ac:spMk id="28" creationId="{6C28D921-ACFE-C25F-ED5E-A23033FFAB8D}"/>
          </ac:spMkLst>
        </pc:spChg>
        <pc:spChg chg="mod">
          <ac:chgData name="Rai, Sourabh" userId="55ca994e-52de-4412-8273-7e6e874b982a" providerId="ADAL" clId="{3410EA29-033D-413F-9B00-74E797981D02}" dt="2024-04-14T16:30:52.890" v="1372" actId="108"/>
          <ac:spMkLst>
            <pc:docMk/>
            <pc:sldMk cId="2864632434" sldId="2147483504"/>
            <ac:spMk id="29" creationId="{A7477F38-2B74-DE06-669E-A13E7F35B38E}"/>
          </ac:spMkLst>
        </pc:spChg>
        <pc:spChg chg="mod">
          <ac:chgData name="Rai, Sourabh" userId="55ca994e-52de-4412-8273-7e6e874b982a" providerId="ADAL" clId="{3410EA29-033D-413F-9B00-74E797981D02}" dt="2024-04-14T15:56:16.779" v="771" actId="20577"/>
          <ac:spMkLst>
            <pc:docMk/>
            <pc:sldMk cId="2864632434" sldId="2147483504"/>
            <ac:spMk id="30" creationId="{E9428875-7924-31F3-4E73-C8697680C9A0}"/>
          </ac:spMkLst>
        </pc:spChg>
        <pc:spChg chg="del">
          <ac:chgData name="Rai, Sourabh" userId="55ca994e-52de-4412-8273-7e6e874b982a" providerId="ADAL" clId="{3410EA29-033D-413F-9B00-74E797981D02}" dt="2024-04-14T15:40:19.771" v="206" actId="478"/>
          <ac:spMkLst>
            <pc:docMk/>
            <pc:sldMk cId="2864632434" sldId="2147483504"/>
            <ac:spMk id="31" creationId="{EA7C46FC-58C4-676C-5F89-EC1705A49DAA}"/>
          </ac:spMkLst>
        </pc:spChg>
        <pc:spChg chg="mod">
          <ac:chgData name="Rai, Sourabh" userId="55ca994e-52de-4412-8273-7e6e874b982a" providerId="ADAL" clId="{3410EA29-033D-413F-9B00-74E797981D02}" dt="2024-04-14T15:56:03.731" v="751" actId="20577"/>
          <ac:spMkLst>
            <pc:docMk/>
            <pc:sldMk cId="2864632434" sldId="2147483504"/>
            <ac:spMk id="32" creationId="{D145EF01-C006-9317-2163-876B9780078C}"/>
          </ac:spMkLst>
        </pc:spChg>
        <pc:spChg chg="mod">
          <ac:chgData name="Rai, Sourabh" userId="55ca994e-52de-4412-8273-7e6e874b982a" providerId="ADAL" clId="{3410EA29-033D-413F-9B00-74E797981D02}" dt="2024-04-14T15:55:08.976" v="727" actId="20577"/>
          <ac:spMkLst>
            <pc:docMk/>
            <pc:sldMk cId="2864632434" sldId="2147483504"/>
            <ac:spMk id="33" creationId="{511BA58B-8A6D-9188-64E3-12EB1442A132}"/>
          </ac:spMkLst>
        </pc:spChg>
        <pc:spChg chg="mod">
          <ac:chgData name="Rai, Sourabh" userId="55ca994e-52de-4412-8273-7e6e874b982a" providerId="ADAL" clId="{3410EA29-033D-413F-9B00-74E797981D02}" dt="2024-04-14T15:48:23.536" v="620" actId="1076"/>
          <ac:spMkLst>
            <pc:docMk/>
            <pc:sldMk cId="2864632434" sldId="2147483504"/>
            <ac:spMk id="34" creationId="{86995972-9618-909E-1677-F69BCD20E9EE}"/>
          </ac:spMkLst>
        </pc:spChg>
        <pc:spChg chg="mod">
          <ac:chgData name="Rai, Sourabh" userId="55ca994e-52de-4412-8273-7e6e874b982a" providerId="ADAL" clId="{3410EA29-033D-413F-9B00-74E797981D02}" dt="2024-04-14T15:48:31.062" v="621" actId="1076"/>
          <ac:spMkLst>
            <pc:docMk/>
            <pc:sldMk cId="2864632434" sldId="2147483504"/>
            <ac:spMk id="35" creationId="{B7F6A1EF-8C1D-3E90-3863-EB9CE63FF4F7}"/>
          </ac:spMkLst>
        </pc:spChg>
        <pc:spChg chg="mod">
          <ac:chgData name="Rai, Sourabh" userId="55ca994e-52de-4412-8273-7e6e874b982a" providerId="ADAL" clId="{3410EA29-033D-413F-9B00-74E797981D02}" dt="2024-04-14T15:43:22.961" v="392" actId="14100"/>
          <ac:spMkLst>
            <pc:docMk/>
            <pc:sldMk cId="2864632434" sldId="2147483504"/>
            <ac:spMk id="38" creationId="{6CAF2F46-1717-F833-B12A-EEC7D707E13B}"/>
          </ac:spMkLst>
        </pc:spChg>
        <pc:spChg chg="mod">
          <ac:chgData name="Rai, Sourabh" userId="55ca994e-52de-4412-8273-7e6e874b982a" providerId="ADAL" clId="{3410EA29-033D-413F-9B00-74E797981D02}" dt="2024-04-14T15:44:11.903" v="460"/>
          <ac:spMkLst>
            <pc:docMk/>
            <pc:sldMk cId="2864632434" sldId="2147483504"/>
            <ac:spMk id="43" creationId="{472E8595-82DE-64BD-534B-5F1C3B8BB9E0}"/>
          </ac:spMkLst>
        </pc:spChg>
        <pc:spChg chg="mod">
          <ac:chgData name="Rai, Sourabh" userId="55ca994e-52de-4412-8273-7e6e874b982a" providerId="ADAL" clId="{3410EA29-033D-413F-9B00-74E797981D02}" dt="2024-04-14T16:20:14.825" v="1231" actId="20577"/>
          <ac:spMkLst>
            <pc:docMk/>
            <pc:sldMk cId="2864632434" sldId="2147483504"/>
            <ac:spMk id="45" creationId="{043C9C28-8A73-BC36-66F5-1E59C86E2E7B}"/>
          </ac:spMkLst>
        </pc:spChg>
        <pc:spChg chg="mod">
          <ac:chgData name="Rai, Sourabh" userId="55ca994e-52de-4412-8273-7e6e874b982a" providerId="ADAL" clId="{3410EA29-033D-413F-9B00-74E797981D02}" dt="2024-04-16T02:27:41.957" v="1413" actId="20577"/>
          <ac:spMkLst>
            <pc:docMk/>
            <pc:sldMk cId="2864632434" sldId="2147483504"/>
            <ac:spMk id="47" creationId="{C9650FE7-CB2C-9292-B240-70CC662952EE}"/>
          </ac:spMkLst>
        </pc:spChg>
        <pc:spChg chg="mod">
          <ac:chgData name="Rai, Sourabh" userId="55ca994e-52de-4412-8273-7e6e874b982a" providerId="ADAL" clId="{3410EA29-033D-413F-9B00-74E797981D02}" dt="2024-04-14T15:44:11.903" v="460"/>
          <ac:spMkLst>
            <pc:docMk/>
            <pc:sldMk cId="2864632434" sldId="2147483504"/>
            <ac:spMk id="52" creationId="{66484100-9DFB-E59E-A23C-9993A3A45BB3}"/>
          </ac:spMkLst>
        </pc:spChg>
        <pc:spChg chg="mod">
          <ac:chgData name="Rai, Sourabh" userId="55ca994e-52de-4412-8273-7e6e874b982a" providerId="ADAL" clId="{3410EA29-033D-413F-9B00-74E797981D02}" dt="2024-04-14T15:54:49.341" v="708" actId="20577"/>
          <ac:spMkLst>
            <pc:docMk/>
            <pc:sldMk cId="2864632434" sldId="2147483504"/>
            <ac:spMk id="53" creationId="{4BCAABC7-A6E5-9B80-72F9-38E8157CD678}"/>
          </ac:spMkLst>
        </pc:spChg>
        <pc:spChg chg="mod">
          <ac:chgData name="Rai, Sourabh" userId="55ca994e-52de-4412-8273-7e6e874b982a" providerId="ADAL" clId="{3410EA29-033D-413F-9B00-74E797981D02}" dt="2024-04-14T15:44:11.903" v="460"/>
          <ac:spMkLst>
            <pc:docMk/>
            <pc:sldMk cId="2864632434" sldId="2147483504"/>
            <ac:spMk id="54" creationId="{8EA4A52D-8867-FD3D-CDC9-6B69786CABB2}"/>
          </ac:spMkLst>
        </pc:spChg>
        <pc:spChg chg="mod">
          <ac:chgData name="Rai, Sourabh" userId="55ca994e-52de-4412-8273-7e6e874b982a" providerId="ADAL" clId="{3410EA29-033D-413F-9B00-74E797981D02}" dt="2024-04-14T15:44:11.903" v="460"/>
          <ac:spMkLst>
            <pc:docMk/>
            <pc:sldMk cId="2864632434" sldId="2147483504"/>
            <ac:spMk id="55" creationId="{FA77CB8C-3ABC-4456-F0EF-90B8A1CDB9BC}"/>
          </ac:spMkLst>
        </pc:spChg>
        <pc:spChg chg="mod">
          <ac:chgData name="Rai, Sourabh" userId="55ca994e-52de-4412-8273-7e6e874b982a" providerId="ADAL" clId="{3410EA29-033D-413F-9B00-74E797981D02}" dt="2024-04-16T02:27:37.542" v="1411" actId="20577"/>
          <ac:spMkLst>
            <pc:docMk/>
            <pc:sldMk cId="2864632434" sldId="2147483504"/>
            <ac:spMk id="56" creationId="{BA976A3D-AE59-9F56-4BAC-3AD9EB71A8F2}"/>
          </ac:spMkLst>
        </pc:spChg>
        <pc:spChg chg="add mod">
          <ac:chgData name="Rai, Sourabh" userId="55ca994e-52de-4412-8273-7e6e874b982a" providerId="ADAL" clId="{3410EA29-033D-413F-9B00-74E797981D02}" dt="2024-04-14T16:31:45.743" v="1373" actId="14100"/>
          <ac:spMkLst>
            <pc:docMk/>
            <pc:sldMk cId="2864632434" sldId="2147483504"/>
            <ac:spMk id="59" creationId="{B032F229-A6D5-1E84-FD6A-A3C680F6A1A1}"/>
          </ac:spMkLst>
        </pc:spChg>
        <pc:spChg chg="add mod">
          <ac:chgData name="Rai, Sourabh" userId="55ca994e-52de-4412-8273-7e6e874b982a" providerId="ADAL" clId="{3410EA29-033D-413F-9B00-74E797981D02}" dt="2024-04-14T16:30:20.821" v="1369" actId="108"/>
          <ac:spMkLst>
            <pc:docMk/>
            <pc:sldMk cId="2864632434" sldId="2147483504"/>
            <ac:spMk id="60" creationId="{3977B965-6377-3285-B263-67B339C9FC7A}"/>
          </ac:spMkLst>
        </pc:spChg>
        <pc:spChg chg="add del mod">
          <ac:chgData name="Rai, Sourabh" userId="55ca994e-52de-4412-8273-7e6e874b982a" providerId="ADAL" clId="{3410EA29-033D-413F-9B00-74E797981D02}" dt="2024-04-14T15:57:23.616" v="796" actId="478"/>
          <ac:spMkLst>
            <pc:docMk/>
            <pc:sldMk cId="2864632434" sldId="2147483504"/>
            <ac:spMk id="61" creationId="{CB199989-7370-D433-0F8C-FF16FD8C8AF4}"/>
          </ac:spMkLst>
        </pc:spChg>
        <pc:spChg chg="add del mod">
          <ac:chgData name="Rai, Sourabh" userId="55ca994e-52de-4412-8273-7e6e874b982a" providerId="ADAL" clId="{3410EA29-033D-413F-9B00-74E797981D02}" dt="2024-04-14T15:54:15.247" v="671" actId="478"/>
          <ac:spMkLst>
            <pc:docMk/>
            <pc:sldMk cId="2864632434" sldId="2147483504"/>
            <ac:spMk id="62" creationId="{9C2E0D1B-C1A0-1E52-6337-F075BF1D35B2}"/>
          </ac:spMkLst>
        </pc:spChg>
        <pc:spChg chg="add mod">
          <ac:chgData name="Rai, Sourabh" userId="55ca994e-52de-4412-8273-7e6e874b982a" providerId="ADAL" clId="{3410EA29-033D-413F-9B00-74E797981D02}" dt="2024-04-14T16:29:56.552" v="1367" actId="108"/>
          <ac:spMkLst>
            <pc:docMk/>
            <pc:sldMk cId="2864632434" sldId="2147483504"/>
            <ac:spMk id="63" creationId="{F8CD98F5-E5D1-DBFF-0475-E0FF7A88F298}"/>
          </ac:spMkLst>
        </pc:spChg>
        <pc:spChg chg="add mod">
          <ac:chgData name="Rai, Sourabh" userId="55ca994e-52de-4412-8273-7e6e874b982a" providerId="ADAL" clId="{3410EA29-033D-413F-9B00-74E797981D02}" dt="2024-04-14T15:57:38.386" v="805" actId="20577"/>
          <ac:spMkLst>
            <pc:docMk/>
            <pc:sldMk cId="2864632434" sldId="2147483504"/>
            <ac:spMk id="64" creationId="{78FB2E4E-C93C-74D0-E818-B957001C78CA}"/>
          </ac:spMkLst>
        </pc:spChg>
        <pc:grpChg chg="del">
          <ac:chgData name="Rai, Sourabh" userId="55ca994e-52de-4412-8273-7e6e874b982a" providerId="ADAL" clId="{3410EA29-033D-413F-9B00-74E797981D02}" dt="2024-04-14T15:39:11.874" v="119" actId="478"/>
          <ac:grpSpMkLst>
            <pc:docMk/>
            <pc:sldMk cId="2864632434" sldId="2147483504"/>
            <ac:grpSpMk id="3" creationId="{00EA61C3-2CD6-B953-33B0-D0150E85BC8E}"/>
          </ac:grpSpMkLst>
        </pc:grpChg>
        <pc:grpChg chg="mod">
          <ac:chgData name="Rai, Sourabh" userId="55ca994e-52de-4412-8273-7e6e874b982a" providerId="ADAL" clId="{3410EA29-033D-413F-9B00-74E797981D02}" dt="2024-04-14T15:47:59.511" v="567" actId="1037"/>
          <ac:grpSpMkLst>
            <pc:docMk/>
            <pc:sldMk cId="2864632434" sldId="2147483504"/>
            <ac:grpSpMk id="16" creationId="{04FD968A-35E1-5817-DFD8-F14FE9950BDD}"/>
          </ac:grpSpMkLst>
        </pc:grpChg>
        <pc:grpChg chg="del">
          <ac:chgData name="Rai, Sourabh" userId="55ca994e-52de-4412-8273-7e6e874b982a" providerId="ADAL" clId="{3410EA29-033D-413F-9B00-74E797981D02}" dt="2024-04-14T15:40:19.771" v="206" actId="478"/>
          <ac:grpSpMkLst>
            <pc:docMk/>
            <pc:sldMk cId="2864632434" sldId="2147483504"/>
            <ac:grpSpMk id="22" creationId="{AFA1C4DD-5736-70DB-F2A7-318AB780D43E}"/>
          </ac:grpSpMkLst>
        </pc:grpChg>
        <pc:grpChg chg="add mod">
          <ac:chgData name="Rai, Sourabh" userId="55ca994e-52de-4412-8273-7e6e874b982a" providerId="ADAL" clId="{3410EA29-033D-413F-9B00-74E797981D02}" dt="2024-04-14T15:48:11.965" v="619" actId="1037"/>
          <ac:grpSpMkLst>
            <pc:docMk/>
            <pc:sldMk cId="2864632434" sldId="2147483504"/>
            <ac:grpSpMk id="41" creationId="{61B0A611-D874-6B00-5AA7-68146AE22C12}"/>
          </ac:grpSpMkLst>
        </pc:grpChg>
        <pc:grpChg chg="mod">
          <ac:chgData name="Rai, Sourabh" userId="55ca994e-52de-4412-8273-7e6e874b982a" providerId="ADAL" clId="{3410EA29-033D-413F-9B00-74E797981D02}" dt="2024-04-14T15:44:11.903" v="460"/>
          <ac:grpSpMkLst>
            <pc:docMk/>
            <pc:sldMk cId="2864632434" sldId="2147483504"/>
            <ac:grpSpMk id="42" creationId="{FF6EE157-C216-D2D9-1BB6-35D619BE4072}"/>
          </ac:grpSpMkLst>
        </pc:grpChg>
        <pc:grpChg chg="mod">
          <ac:chgData name="Rai, Sourabh" userId="55ca994e-52de-4412-8273-7e6e874b982a" providerId="ADAL" clId="{3410EA29-033D-413F-9B00-74E797981D02}" dt="2024-04-14T15:44:11.903" v="460"/>
          <ac:grpSpMkLst>
            <pc:docMk/>
            <pc:sldMk cId="2864632434" sldId="2147483504"/>
            <ac:grpSpMk id="46" creationId="{F2FCA760-ED23-0669-7483-4F6A263C0524}"/>
          </ac:grpSpMkLst>
        </pc:grpChg>
        <pc:grpChg chg="mod">
          <ac:chgData name="Rai, Sourabh" userId="55ca994e-52de-4412-8273-7e6e874b982a" providerId="ADAL" clId="{3410EA29-033D-413F-9B00-74E797981D02}" dt="2024-04-14T15:44:11.903" v="460"/>
          <ac:grpSpMkLst>
            <pc:docMk/>
            <pc:sldMk cId="2864632434" sldId="2147483504"/>
            <ac:grpSpMk id="48" creationId="{4078A8A6-4105-E186-63E3-465E7780B641}"/>
          </ac:grpSpMkLst>
        </pc:grpChg>
        <pc:cxnChg chg="add mod">
          <ac:chgData name="Rai, Sourabh" userId="55ca994e-52de-4412-8273-7e6e874b982a" providerId="ADAL" clId="{3410EA29-033D-413F-9B00-74E797981D02}" dt="2024-04-17T03:19:08.670" v="1440" actId="1076"/>
          <ac:cxnSpMkLst>
            <pc:docMk/>
            <pc:sldMk cId="2864632434" sldId="2147483504"/>
            <ac:cxnSpMk id="5" creationId="{C5457D59-035E-ABCD-C084-AF7DF87D9C35}"/>
          </ac:cxnSpMkLst>
        </pc:cxnChg>
        <pc:cxnChg chg="mod">
          <ac:chgData name="Rai, Sourabh" userId="55ca994e-52de-4412-8273-7e6e874b982a" providerId="ADAL" clId="{3410EA29-033D-413F-9B00-74E797981D02}" dt="2024-04-14T15:39:11.874" v="119" actId="478"/>
          <ac:cxnSpMkLst>
            <pc:docMk/>
            <pc:sldMk cId="2864632434" sldId="2147483504"/>
            <ac:cxnSpMk id="11" creationId="{A57EC5D8-D135-6F1E-F9CE-1DD8ADFD9E5B}"/>
          </ac:cxnSpMkLst>
        </pc:cxnChg>
        <pc:cxnChg chg="mod">
          <ac:chgData name="Rai, Sourabh" userId="55ca994e-52de-4412-8273-7e6e874b982a" providerId="ADAL" clId="{3410EA29-033D-413F-9B00-74E797981D02}" dt="2024-04-14T15:39:11.874" v="119" actId="478"/>
          <ac:cxnSpMkLst>
            <pc:docMk/>
            <pc:sldMk cId="2864632434" sldId="2147483504"/>
            <ac:cxnSpMk id="12" creationId="{059BF6CB-D369-014A-DFF0-DA4B74ED7661}"/>
          </ac:cxnSpMkLst>
        </pc:cxnChg>
        <pc:cxnChg chg="mod">
          <ac:chgData name="Rai, Sourabh" userId="55ca994e-52de-4412-8273-7e6e874b982a" providerId="ADAL" clId="{3410EA29-033D-413F-9B00-74E797981D02}" dt="2024-04-14T15:41:55.227" v="304" actId="14100"/>
          <ac:cxnSpMkLst>
            <pc:docMk/>
            <pc:sldMk cId="2864632434" sldId="2147483504"/>
            <ac:cxnSpMk id="19" creationId="{60B42CEB-5F80-D134-7110-3752C3239E51}"/>
          </ac:cxnSpMkLst>
        </pc:cxnChg>
        <pc:cxnChg chg="mod">
          <ac:chgData name="Rai, Sourabh" userId="55ca994e-52de-4412-8273-7e6e874b982a" providerId="ADAL" clId="{3410EA29-033D-413F-9B00-74E797981D02}" dt="2024-04-14T15:40:16.464" v="205" actId="1035"/>
          <ac:cxnSpMkLst>
            <pc:docMk/>
            <pc:sldMk cId="2864632434" sldId="2147483504"/>
            <ac:cxnSpMk id="24" creationId="{EEFD98EF-9732-D234-98FA-123AAB87A0A5}"/>
          </ac:cxnSpMkLst>
        </pc:cxnChg>
        <pc:cxnChg chg="mod">
          <ac:chgData name="Rai, Sourabh" userId="55ca994e-52de-4412-8273-7e6e874b982a" providerId="ADAL" clId="{3410EA29-033D-413F-9B00-74E797981D02}" dt="2024-04-14T15:40:16.464" v="205" actId="1035"/>
          <ac:cxnSpMkLst>
            <pc:docMk/>
            <pc:sldMk cId="2864632434" sldId="2147483504"/>
            <ac:cxnSpMk id="25" creationId="{E49836FB-9F6C-A8BF-7140-368E5E75CFB5}"/>
          </ac:cxnSpMkLst>
        </pc:cxnChg>
        <pc:cxnChg chg="mod">
          <ac:chgData name="Rai, Sourabh" userId="55ca994e-52de-4412-8273-7e6e874b982a" providerId="ADAL" clId="{3410EA29-033D-413F-9B00-74E797981D02}" dt="2024-04-14T15:40:16.464" v="205" actId="1035"/>
          <ac:cxnSpMkLst>
            <pc:docMk/>
            <pc:sldMk cId="2864632434" sldId="2147483504"/>
            <ac:cxnSpMk id="26" creationId="{06509C11-41D9-4DCC-3ED9-BBF34F4966FC}"/>
          </ac:cxnSpMkLst>
        </pc:cxnChg>
        <pc:cxnChg chg="mod">
          <ac:chgData name="Rai, Sourabh" userId="55ca994e-52de-4412-8273-7e6e874b982a" providerId="ADAL" clId="{3410EA29-033D-413F-9B00-74E797981D02}" dt="2024-04-14T15:48:38.356" v="650" actId="1037"/>
          <ac:cxnSpMkLst>
            <pc:docMk/>
            <pc:sldMk cId="2864632434" sldId="2147483504"/>
            <ac:cxnSpMk id="36" creationId="{4DEA83D6-370C-7EED-70E0-C61B89D91472}"/>
          </ac:cxnSpMkLst>
        </pc:cxnChg>
        <pc:cxnChg chg="mod">
          <ac:chgData name="Rai, Sourabh" userId="55ca994e-52de-4412-8273-7e6e874b982a" providerId="ADAL" clId="{3410EA29-033D-413F-9B00-74E797981D02}" dt="2024-04-14T15:44:11.903" v="460"/>
          <ac:cxnSpMkLst>
            <pc:docMk/>
            <pc:sldMk cId="2864632434" sldId="2147483504"/>
            <ac:cxnSpMk id="44" creationId="{D49FDEE9-6FBB-3CEB-1A3F-A16627E89131}"/>
          </ac:cxnSpMkLst>
        </pc:cxnChg>
        <pc:cxnChg chg="mod">
          <ac:chgData name="Rai, Sourabh" userId="55ca994e-52de-4412-8273-7e6e874b982a" providerId="ADAL" clId="{3410EA29-033D-413F-9B00-74E797981D02}" dt="2024-04-14T15:44:11.903" v="460"/>
          <ac:cxnSpMkLst>
            <pc:docMk/>
            <pc:sldMk cId="2864632434" sldId="2147483504"/>
            <ac:cxnSpMk id="49" creationId="{8A945E4E-5AA3-02E9-C833-8E532A461664}"/>
          </ac:cxnSpMkLst>
        </pc:cxnChg>
        <pc:cxnChg chg="mod">
          <ac:chgData name="Rai, Sourabh" userId="55ca994e-52de-4412-8273-7e6e874b982a" providerId="ADAL" clId="{3410EA29-033D-413F-9B00-74E797981D02}" dt="2024-04-14T15:44:11.903" v="460"/>
          <ac:cxnSpMkLst>
            <pc:docMk/>
            <pc:sldMk cId="2864632434" sldId="2147483504"/>
            <ac:cxnSpMk id="50" creationId="{5FB95625-03A9-FA25-0B1A-F0AE45BB7A6D}"/>
          </ac:cxnSpMkLst>
        </pc:cxnChg>
        <pc:cxnChg chg="mod">
          <ac:chgData name="Rai, Sourabh" userId="55ca994e-52de-4412-8273-7e6e874b982a" providerId="ADAL" clId="{3410EA29-033D-413F-9B00-74E797981D02}" dt="2024-04-14T15:44:11.903" v="460"/>
          <ac:cxnSpMkLst>
            <pc:docMk/>
            <pc:sldMk cId="2864632434" sldId="2147483504"/>
            <ac:cxnSpMk id="51" creationId="{892F70CD-1BB9-FCAA-ACDF-AFEAD685D181}"/>
          </ac:cxnSpMkLst>
        </pc:cxnChg>
        <pc:cxnChg chg="add del">
          <ac:chgData name="Rai, Sourabh" userId="55ca994e-52de-4412-8273-7e6e874b982a" providerId="ADAL" clId="{3410EA29-033D-413F-9B00-74E797981D02}" dt="2024-04-14T15:46:16.719" v="527" actId="478"/>
          <ac:cxnSpMkLst>
            <pc:docMk/>
            <pc:sldMk cId="2864632434" sldId="2147483504"/>
            <ac:cxnSpMk id="58" creationId="{07A1C149-175F-206B-B90B-F4FA8922F21D}"/>
          </ac:cxnSpMkLst>
        </pc:cxnChg>
        <pc:cxnChg chg="add mod">
          <ac:chgData name="Rai, Sourabh" userId="55ca994e-52de-4412-8273-7e6e874b982a" providerId="ADAL" clId="{3410EA29-033D-413F-9B00-74E797981D02}" dt="2024-04-14T15:58:18.067" v="808" actId="14100"/>
          <ac:cxnSpMkLst>
            <pc:docMk/>
            <pc:sldMk cId="2864632434" sldId="2147483504"/>
            <ac:cxnSpMk id="65" creationId="{9B896118-C198-7115-CF0E-0FE8D301413C}"/>
          </ac:cxnSpMkLst>
        </pc:cxnChg>
        <pc:cxnChg chg="add mod">
          <ac:chgData name="Rai, Sourabh" userId="55ca994e-52de-4412-8273-7e6e874b982a" providerId="ADAL" clId="{3410EA29-033D-413F-9B00-74E797981D02}" dt="2024-04-14T15:58:27.020" v="810" actId="1076"/>
          <ac:cxnSpMkLst>
            <pc:docMk/>
            <pc:sldMk cId="2864632434" sldId="2147483504"/>
            <ac:cxnSpMk id="67" creationId="{8BA1D1DB-FCCC-CE8A-9956-B9D60AC67C2D}"/>
          </ac:cxnSpMkLst>
        </pc:cxnChg>
      </pc:sldChg>
    </pc:docChg>
  </pc:docChgLst>
  <pc:docChgLst>
    <pc:chgData name="Rai, Sourabh" userId="S::703302510@genpact.com::55ca994e-52de-4412-8273-7e6e874b982a" providerId="AD" clId="Web-{696D14B3-4672-AFD7-6344-FA904FBB8AC8}"/>
    <pc:docChg chg="addSld">
      <pc:chgData name="Rai, Sourabh" userId="S::703302510@genpact.com::55ca994e-52de-4412-8273-7e6e874b982a" providerId="AD" clId="Web-{696D14B3-4672-AFD7-6344-FA904FBB8AC8}" dt="2024-04-09T16:28:37.334" v="1"/>
      <pc:docMkLst>
        <pc:docMk/>
      </pc:docMkLst>
      <pc:sldChg chg="add">
        <pc:chgData name="Rai, Sourabh" userId="S::703302510@genpact.com::55ca994e-52de-4412-8273-7e6e874b982a" providerId="AD" clId="Web-{696D14B3-4672-AFD7-6344-FA904FBB8AC8}" dt="2024-04-09T16:28:37.334" v="1"/>
        <pc:sldMkLst>
          <pc:docMk/>
          <pc:sldMk cId="910835956" sldId="2146846958"/>
        </pc:sldMkLst>
      </pc:sldChg>
      <pc:sldChg chg="add">
        <pc:chgData name="Rai, Sourabh" userId="S::703302510@genpact.com::55ca994e-52de-4412-8273-7e6e874b982a" providerId="AD" clId="Web-{696D14B3-4672-AFD7-6344-FA904FBB8AC8}" dt="2024-04-09T16:28:06.235" v="0"/>
        <pc:sldMkLst>
          <pc:docMk/>
          <pc:sldMk cId="4068177081" sldId="2146846964"/>
        </pc:sldMkLst>
      </pc:sldChg>
    </pc:docChg>
  </pc:docChgLst>
  <pc:docChgLst>
    <pc:chgData clId="Web-{0951BBBC-9D7A-2426-CDCC-50C65042734C}"/>
    <pc:docChg chg="delSld">
      <pc:chgData name="" userId="" providerId="" clId="Web-{0951BBBC-9D7A-2426-CDCC-50C65042734C}" dt="2024-04-15T13:15:00.453" v="0"/>
      <pc:docMkLst>
        <pc:docMk/>
      </pc:docMkLst>
      <pc:sldChg chg="del">
        <pc:chgData name="" userId="" providerId="" clId="Web-{0951BBBC-9D7A-2426-CDCC-50C65042734C}" dt="2024-04-15T13:15:00.453" v="0"/>
        <pc:sldMkLst>
          <pc:docMk/>
          <pc:sldMk cId="1365300521" sldId="2147481280"/>
        </pc:sldMkLst>
      </pc:sldChg>
    </pc:docChg>
  </pc:docChgLst>
  <pc:docChgLst>
    <pc:chgData name="Pandarathil, Deepa" userId="6b903ae5-9121-4422-994c-e264027bad1c" providerId="ADAL" clId="{9D2AE261-36C7-4C82-9DF8-D2672DAA84DF}"/>
    <pc:docChg chg="modSld">
      <pc:chgData name="Pandarathil, Deepa" userId="6b903ae5-9121-4422-994c-e264027bad1c" providerId="ADAL" clId="{9D2AE261-36C7-4C82-9DF8-D2672DAA84DF}" dt="2024-04-04T16:28:12.472" v="0" actId="1036"/>
      <pc:docMkLst>
        <pc:docMk/>
      </pc:docMkLst>
      <pc:sldChg chg="modSp mod">
        <pc:chgData name="Pandarathil, Deepa" userId="6b903ae5-9121-4422-994c-e264027bad1c" providerId="ADAL" clId="{9D2AE261-36C7-4C82-9DF8-D2672DAA84DF}" dt="2024-04-04T16:28:12.472" v="0" actId="1036"/>
        <pc:sldMkLst>
          <pc:docMk/>
          <pc:sldMk cId="3543267808" sldId="2147483502"/>
        </pc:sldMkLst>
        <pc:spChg chg="mod">
          <ac:chgData name="Pandarathil, Deepa" userId="6b903ae5-9121-4422-994c-e264027bad1c" providerId="ADAL" clId="{9D2AE261-36C7-4C82-9DF8-D2672DAA84DF}" dt="2024-04-04T16:28:12.472" v="0" actId="1036"/>
          <ac:spMkLst>
            <pc:docMk/>
            <pc:sldMk cId="3543267808" sldId="2147483502"/>
            <ac:spMk id="24" creationId="{1C51EB85-BBE0-443A-2CEC-C6BF014C45C2}"/>
          </ac:spMkLst>
        </pc:spChg>
      </pc:sldChg>
    </pc:docChg>
  </pc:docChgLst>
  <pc:docChgLst>
    <pc:chgData name="Mehra, Dheeraj" userId="S::703252315@genpact.com::3c338f4f-8b6f-45ce-83c2-688201dbf2e4" providerId="AD" clId="Web-{C1DFD4F9-D08F-3254-DD85-C1F9D94CC752}"/>
    <pc:docChg chg="addSld delSld modSld sldOrd">
      <pc:chgData name="Mehra, Dheeraj" userId="S::703252315@genpact.com::3c338f4f-8b6f-45ce-83c2-688201dbf2e4" providerId="AD" clId="Web-{C1DFD4F9-D08F-3254-DD85-C1F9D94CC752}" dt="2024-04-10T04:56:57.488" v="29"/>
      <pc:docMkLst>
        <pc:docMk/>
      </pc:docMkLst>
      <pc:sldChg chg="modSp add ord">
        <pc:chgData name="Mehra, Dheeraj" userId="S::703252315@genpact.com::3c338f4f-8b6f-45ce-83c2-688201dbf2e4" providerId="AD" clId="Web-{C1DFD4F9-D08F-3254-DD85-C1F9D94CC752}" dt="2024-04-10T04:56:18.800" v="25"/>
        <pc:sldMkLst>
          <pc:docMk/>
          <pc:sldMk cId="2049168971" sldId="283"/>
        </pc:sldMkLst>
        <pc:spChg chg="mod">
          <ac:chgData name="Mehra, Dheeraj" userId="S::703252315@genpact.com::3c338f4f-8b6f-45ce-83c2-688201dbf2e4" providerId="AD" clId="Web-{C1DFD4F9-D08F-3254-DD85-C1F9D94CC752}" dt="2024-04-10T04:56:18.800" v="25"/>
          <ac:spMkLst>
            <pc:docMk/>
            <pc:sldMk cId="2049168971" sldId="283"/>
            <ac:spMk id="2" creationId="{3EFFA487-AF0D-4DC3-69B8-7936500A0BED}"/>
          </ac:spMkLst>
        </pc:spChg>
      </pc:sldChg>
      <pc:sldChg chg="del">
        <pc:chgData name="Mehra, Dheeraj" userId="S::703252315@genpact.com::3c338f4f-8b6f-45ce-83c2-688201dbf2e4" providerId="AD" clId="Web-{C1DFD4F9-D08F-3254-DD85-C1F9D94CC752}" dt="2024-04-10T04:52:48.827" v="0"/>
        <pc:sldMkLst>
          <pc:docMk/>
          <pc:sldMk cId="910835956" sldId="2146846958"/>
        </pc:sldMkLst>
      </pc:sldChg>
      <pc:sldChg chg="modSp ord">
        <pc:chgData name="Mehra, Dheeraj" userId="S::703252315@genpact.com::3c338f4f-8b6f-45ce-83c2-688201dbf2e4" providerId="AD" clId="Web-{C1DFD4F9-D08F-3254-DD85-C1F9D94CC752}" dt="2024-04-10T04:56:45.066" v="28" actId="1076"/>
        <pc:sldMkLst>
          <pc:docMk/>
          <pc:sldMk cId="4068177081" sldId="2146846964"/>
        </pc:sldMkLst>
        <pc:spChg chg="mod">
          <ac:chgData name="Mehra, Dheeraj" userId="S::703252315@genpact.com::3c338f4f-8b6f-45ce-83c2-688201dbf2e4" providerId="AD" clId="Web-{C1DFD4F9-D08F-3254-DD85-C1F9D94CC752}" dt="2024-04-10T04:56:45.066" v="28" actId="1076"/>
          <ac:spMkLst>
            <pc:docMk/>
            <pc:sldMk cId="4068177081" sldId="2146846964"/>
            <ac:spMk id="2" creationId="{C8DB4225-5A36-43E9-4172-5639065D6CE6}"/>
          </ac:spMkLst>
        </pc:spChg>
      </pc:sldChg>
      <pc:sldChg chg="add">
        <pc:chgData name="Mehra, Dheeraj" userId="S::703252315@genpact.com::3c338f4f-8b6f-45ce-83c2-688201dbf2e4" providerId="AD" clId="Web-{C1DFD4F9-D08F-3254-DD85-C1F9D94CC752}" dt="2024-04-10T04:53:04.936" v="1"/>
        <pc:sldMkLst>
          <pc:docMk/>
          <pc:sldMk cId="14961541" sldId="2146846967"/>
        </pc:sldMkLst>
      </pc:sldChg>
      <pc:sldChg chg="ord">
        <pc:chgData name="Mehra, Dheeraj" userId="S::703252315@genpact.com::3c338f4f-8b6f-45ce-83c2-688201dbf2e4" providerId="AD" clId="Web-{C1DFD4F9-D08F-3254-DD85-C1F9D94CC752}" dt="2024-04-10T04:56:57.488" v="29"/>
        <pc:sldMkLst>
          <pc:docMk/>
          <pc:sldMk cId="3543267808" sldId="2147483502"/>
        </pc:sldMkLst>
      </pc:sldChg>
      <pc:sldChg chg="modSp ord">
        <pc:chgData name="Mehra, Dheeraj" userId="S::703252315@genpact.com::3c338f4f-8b6f-45ce-83c2-688201dbf2e4" providerId="AD" clId="Web-{C1DFD4F9-D08F-3254-DD85-C1F9D94CC752}" dt="2024-04-10T04:55:23.486" v="7"/>
        <pc:sldMkLst>
          <pc:docMk/>
          <pc:sldMk cId="3914346901" sldId="2147483503"/>
        </pc:sldMkLst>
        <pc:grpChg chg="mod">
          <ac:chgData name="Mehra, Dheeraj" userId="S::703252315@genpact.com::3c338f4f-8b6f-45ce-83c2-688201dbf2e4" providerId="AD" clId="Web-{C1DFD4F9-D08F-3254-DD85-C1F9D94CC752}" dt="2024-04-10T04:54:15.688" v="2" actId="14100"/>
          <ac:grpSpMkLst>
            <pc:docMk/>
            <pc:sldMk cId="3914346901" sldId="2147483503"/>
            <ac:grpSpMk id="16" creationId="{DF23437F-5A51-994F-FD39-7156AB6CF2CF}"/>
          </ac:grpSpMkLst>
        </pc:gr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73053-A2E4-4DC2-8A97-54CA4C4893C8}" type="datetimeFigureOut">
              <a:rPr lang="en-US" smtClean="0"/>
              <a:t>5/1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74D51D-9E4C-4D99-831C-8530E569BF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1151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1C4822-BEE9-252F-8DAF-C1A4A5DDD6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067DB4A-E442-DCA7-D492-CB59606E8D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98B8BD3-B503-1F24-DD50-AD103E29A1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B6137D-D740-19D2-F5F8-6FDC4B6E0F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C9F161-07A6-48A8-844D-651C99E29A4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621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9718DD-4AAF-4D8A-BA7D-B91CCB27E3C3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97663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9718DD-4AAF-4D8A-BA7D-B91CCB27E3C3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83556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132672-BA5E-D2B4-C6C4-8B153C2D3B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5814B9-2BCC-521F-8057-C271239732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D25A7E-4E28-A40C-E693-ED37F25CB5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EBBB3D-B733-2194-8A77-3BB2375E04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9718DD-4AAF-4D8A-BA7D-B91CCB27E3C3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71706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6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6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6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6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1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6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6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6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6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6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6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6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3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6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6.sv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6.svg"/><Relationship Id="rId7" Type="http://schemas.openxmlformats.org/officeDocument/2006/relationships/image" Target="../media/image1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4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5" Type="http://schemas.openxmlformats.org/officeDocument/2006/relationships/image" Target="../media/image11.svg"/><Relationship Id="rId4" Type="http://schemas.openxmlformats.org/officeDocument/2006/relationships/image" Target="../media/image5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6.sv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6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6" Type="http://schemas.openxmlformats.org/officeDocument/2006/relationships/image" Target="../media/image5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6.sv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6.sv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5.png"/><Relationship Id="rId4" Type="http://schemas.openxmlformats.org/officeDocument/2006/relationships/image" Target="../media/image6.sv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6.sv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5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5.png"/><Relationship Id="rId7" Type="http://schemas.openxmlformats.org/officeDocument/2006/relationships/image" Target="../media/image1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10" Type="http://schemas.openxmlformats.org/officeDocument/2006/relationships/image" Target="../media/image21.svg"/><Relationship Id="rId4" Type="http://schemas.openxmlformats.org/officeDocument/2006/relationships/image" Target="../media/image6.svg"/><Relationship Id="rId9" Type="http://schemas.openxmlformats.org/officeDocument/2006/relationships/image" Target="../media/image20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8" y="1181779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18DAEFC-EF40-4589-9F6B-5C1699274A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80257"/>
            <a:ext cx="6443998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smtClean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DD074E2-BB76-4B7C-90F7-2473D2A24262}"/>
              </a:ext>
            </a:extLst>
          </p:cNvPr>
          <p:cNvSpPr txBox="1">
            <a:spLocks/>
          </p:cNvSpPr>
          <p:nvPr userDrawn="1"/>
        </p:nvSpPr>
        <p:spPr>
          <a:xfrm>
            <a:off x="460744" y="6426211"/>
            <a:ext cx="2396518" cy="22225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2"/>
                </a:solidFill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95F7C717-0658-484B-91D9-32F6C7DAF0E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73006" y="387487"/>
            <a:ext cx="1948756" cy="810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6990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20">
            <a:extLst>
              <a:ext uri="{FF2B5EF4-FFF2-40B4-BE49-F238E27FC236}">
                <a16:creationId xmlns:a16="http://schemas.microsoft.com/office/drawing/2014/main" id="{AD3AE23F-988B-564F-876F-C0158BED6563}"/>
              </a:ext>
            </a:extLst>
          </p:cNvPr>
          <p:cNvSpPr/>
          <p:nvPr/>
        </p:nvSpPr>
        <p:spPr>
          <a:xfrm>
            <a:off x="0" y="-3821"/>
            <a:ext cx="3119527" cy="2170074"/>
          </a:xfrm>
          <a:custGeom>
            <a:avLst/>
            <a:gdLst>
              <a:gd name="connsiteX0" fmla="*/ 0 w 3119527"/>
              <a:gd name="connsiteY0" fmla="*/ 0 h 2170074"/>
              <a:gd name="connsiteX1" fmla="*/ 3119527 w 3119527"/>
              <a:gd name="connsiteY1" fmla="*/ 1224 h 2170074"/>
              <a:gd name="connsiteX2" fmla="*/ 0 w 3119527"/>
              <a:gd name="connsiteY2" fmla="*/ 2170074 h 2170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19527" h="2170074">
                <a:moveTo>
                  <a:pt x="0" y="0"/>
                </a:moveTo>
                <a:lnTo>
                  <a:pt x="3119527" y="1224"/>
                </a:lnTo>
                <a:lnTo>
                  <a:pt x="0" y="2170074"/>
                </a:lnTo>
                <a:close/>
              </a:path>
            </a:pathLst>
          </a:custGeom>
          <a:gradFill>
            <a:gsLst>
              <a:gs pos="0">
                <a:srgbClr val="007199"/>
              </a:gs>
              <a:gs pos="100000">
                <a:srgbClr val="00AECF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64203167-F8D4-5045-BC57-8D5D46A2DF5D}"/>
              </a:ext>
            </a:extLst>
          </p:cNvPr>
          <p:cNvSpPr/>
          <p:nvPr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D1E0693-F664-448A-9D7A-93A03D6B7E90}"/>
              </a:ext>
            </a:extLst>
          </p:cNvPr>
          <p:cNvSpPr/>
          <p:nvPr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5BDCB9F-EF00-4740-A039-6C5374289B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48114" y="0"/>
            <a:ext cx="8543886" cy="5941720"/>
          </a:xfrm>
          <a:custGeom>
            <a:avLst/>
            <a:gdLst>
              <a:gd name="connsiteX0" fmla="*/ 0 w 8543886"/>
              <a:gd name="connsiteY0" fmla="*/ 0 h 5941720"/>
              <a:gd name="connsiteX1" fmla="*/ 8543886 w 8543886"/>
              <a:gd name="connsiteY1" fmla="*/ 0 h 5941720"/>
              <a:gd name="connsiteX2" fmla="*/ 8543886 w 8543886"/>
              <a:gd name="connsiteY2" fmla="*/ 5941720 h 594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886" h="5941720">
                <a:moveTo>
                  <a:pt x="0" y="0"/>
                </a:moveTo>
                <a:lnTo>
                  <a:pt x="8543886" y="0"/>
                </a:lnTo>
                <a:lnTo>
                  <a:pt x="8543886" y="594172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972997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B87D776C-79F6-D44E-9FFA-CA482D54AFB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CEF1787-A2E1-458A-BF2D-A3E6A5C67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560262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/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1</a:t>
            </a:r>
            <a:endParaRPr lang="en-GB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667D5848-2C00-434A-95F4-0BB2E59ACF12}"/>
              </a:ext>
            </a:extLst>
          </p:cNvPr>
          <p:cNvSpPr/>
          <p:nvPr userDrawn="1"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B97E7568-823C-4CBD-8378-DB4576EA10FD}"/>
              </a:ext>
            </a:extLst>
          </p:cNvPr>
          <p:cNvSpPr/>
          <p:nvPr userDrawn="1"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F7F916-A56A-41E0-AB16-47964E93C7B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7A96C76-0097-4274-9DA2-D1F8E7937F33}"/>
              </a:ext>
            </a:extLst>
          </p:cNvPr>
          <p:cNvSpPr/>
          <p:nvPr userDrawn="1"/>
        </p:nvSpPr>
        <p:spPr>
          <a:xfrm rot="4191016">
            <a:off x="3401016" y="-500975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D4A7702-172F-4F6B-8FA4-0097A75DF785}"/>
              </a:ext>
            </a:extLst>
          </p:cNvPr>
          <p:cNvSpPr/>
          <p:nvPr userDrawn="1"/>
        </p:nvSpPr>
        <p:spPr>
          <a:xfrm flipH="1">
            <a:off x="9184940" y="3705794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0546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Option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F1A244BB-4228-44A5-8696-0D94B4F1FD2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25165" y="-16875"/>
            <a:ext cx="12217165" cy="6891750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7165" h="6891750">
                <a:moveTo>
                  <a:pt x="5949525" y="0"/>
                </a:moveTo>
                <a:lnTo>
                  <a:pt x="12205854" y="4343205"/>
                </a:lnTo>
                <a:cubicBezTo>
                  <a:pt x="12209624" y="5192720"/>
                  <a:pt x="12213395" y="6042235"/>
                  <a:pt x="12217165" y="6891750"/>
                </a:cubicBezTo>
                <a:lnTo>
                  <a:pt x="4074250" y="6877896"/>
                </a:lnTo>
                <a:lnTo>
                  <a:pt x="13855" y="6850187"/>
                </a:lnTo>
                <a:cubicBezTo>
                  <a:pt x="9237" y="5081423"/>
                  <a:pt x="4618" y="3284951"/>
                  <a:pt x="0" y="1516187"/>
                </a:cubicBezTo>
                <a:lnTo>
                  <a:pt x="2161309" y="19896"/>
                </a:lnTo>
                <a:lnTo>
                  <a:pt x="594952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4434872"/>
            <a:ext cx="6397626" cy="121859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8" y="2335488"/>
            <a:ext cx="6443999" cy="381000"/>
          </a:xfrm>
          <a:prstGeom prst="rect">
            <a:avLst/>
          </a:prstGeom>
        </p:spPr>
        <p:txBody>
          <a:bodyPr lIns="0" tIns="0" rIns="360000" b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8BFED82-0752-2B4C-9928-7844755DF9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793" y="6426211"/>
            <a:ext cx="2396518" cy="22225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1 Copyright Genpact. All Rights Reserved.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5C7979F-B5FA-491A-9674-811E416D3A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744" y="2999782"/>
            <a:ext cx="6454310" cy="990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Title of the deck</a:t>
            </a:r>
            <a:endParaRPr lang="en-GB"/>
          </a:p>
        </p:txBody>
      </p:sp>
      <p:pic>
        <p:nvPicPr>
          <p:cNvPr id="2" name="Graphic 16">
            <a:extLst>
              <a:ext uri="{FF2B5EF4-FFF2-40B4-BE49-F238E27FC236}">
                <a16:creationId xmlns:a16="http://schemas.microsoft.com/office/drawing/2014/main" id="{6BF1D3ED-EBFA-EB5B-15A8-AF923C9AFC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32719" y="180841"/>
            <a:ext cx="2601312" cy="1175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9752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Divider slide Opt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2CF47FDA-8748-504D-8664-3D1661DC0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1" name="Text Placeholder 22">
            <a:extLst>
              <a:ext uri="{FF2B5EF4-FFF2-40B4-BE49-F238E27FC236}">
                <a16:creationId xmlns:a16="http://schemas.microsoft.com/office/drawing/2014/main" id="{AF24F78C-9E1D-4BBA-A210-9F828B1B6D8A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674257" y="3154292"/>
            <a:ext cx="6843487" cy="955816"/>
          </a:xfrm>
          <a:prstGeom prst="rect">
            <a:avLst/>
          </a:prstGeom>
        </p:spPr>
        <p:txBody>
          <a:bodyPr lIns="0" anchor="b"/>
          <a:lstStyle>
            <a:lvl1pPr marL="0" indent="0" algn="ctr">
              <a:buNone/>
              <a:defRPr sz="5400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Slide divider option-2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82D976D-FC0E-4F30-8BD7-D5402A1EA473}"/>
              </a:ext>
            </a:extLst>
          </p:cNvPr>
          <p:cNvCxnSpPr/>
          <p:nvPr userDrawn="1"/>
        </p:nvCxnSpPr>
        <p:spPr>
          <a:xfrm>
            <a:off x="3468983" y="4267530"/>
            <a:ext cx="5254035" cy="0"/>
          </a:xfrm>
          <a:prstGeom prst="line">
            <a:avLst/>
          </a:prstGeom>
          <a:ln w="22225" cap="rnd">
            <a:gradFill flip="none" rotWithShape="1">
              <a:gsLst>
                <a:gs pos="18000">
                  <a:srgbClr val="FF555F"/>
                </a:gs>
                <a:gs pos="0">
                  <a:schemeClr val="accent1">
                    <a:alpha val="0"/>
                  </a:schemeClr>
                </a:gs>
                <a:gs pos="47000">
                  <a:schemeClr val="accent1"/>
                </a:gs>
                <a:gs pos="100000">
                  <a:schemeClr val="accent1">
                    <a:alpha val="0"/>
                  </a:schemeClr>
                </a:gs>
                <a:gs pos="88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00FF4BF-020A-4F83-B661-C030EC8A6B37}"/>
              </a:ext>
            </a:extLst>
          </p:cNvPr>
          <p:cNvSpPr/>
          <p:nvPr userDrawn="1"/>
        </p:nvSpPr>
        <p:spPr>
          <a:xfrm>
            <a:off x="8263165" y="0"/>
            <a:ext cx="3928835" cy="1695450"/>
          </a:xfrm>
          <a:custGeom>
            <a:avLst/>
            <a:gdLst>
              <a:gd name="connsiteX0" fmla="*/ 0 w 3947885"/>
              <a:gd name="connsiteY0" fmla="*/ 0 h 1727200"/>
              <a:gd name="connsiteX1" fmla="*/ 2452914 w 3947885"/>
              <a:gd name="connsiteY1" fmla="*/ 1727200 h 1727200"/>
              <a:gd name="connsiteX2" fmla="*/ 3947885 w 3947885"/>
              <a:gd name="connsiteY2" fmla="*/ 667658 h 1727200"/>
              <a:gd name="connsiteX3" fmla="*/ 3947885 w 3947885"/>
              <a:gd name="connsiteY3" fmla="*/ 29029 h 1727200"/>
              <a:gd name="connsiteX4" fmla="*/ 0 w 3947885"/>
              <a:gd name="connsiteY4" fmla="*/ 0 h 1727200"/>
              <a:gd name="connsiteX0" fmla="*/ 0 w 3947885"/>
              <a:gd name="connsiteY0" fmla="*/ 0 h 1727200"/>
              <a:gd name="connsiteX1" fmla="*/ 2452914 w 3947885"/>
              <a:gd name="connsiteY1" fmla="*/ 1727200 h 1727200"/>
              <a:gd name="connsiteX2" fmla="*/ 3947885 w 3947885"/>
              <a:gd name="connsiteY2" fmla="*/ 667658 h 1727200"/>
              <a:gd name="connsiteX3" fmla="*/ 3935185 w 3947885"/>
              <a:gd name="connsiteY3" fmla="*/ 3629 h 1727200"/>
              <a:gd name="connsiteX4" fmla="*/ 0 w 3947885"/>
              <a:gd name="connsiteY4" fmla="*/ 0 h 1727200"/>
              <a:gd name="connsiteX0" fmla="*/ 0 w 3935185"/>
              <a:gd name="connsiteY0" fmla="*/ 0 h 1727200"/>
              <a:gd name="connsiteX1" fmla="*/ 2452914 w 3935185"/>
              <a:gd name="connsiteY1" fmla="*/ 1727200 h 1727200"/>
              <a:gd name="connsiteX2" fmla="*/ 3922485 w 3935185"/>
              <a:gd name="connsiteY2" fmla="*/ 667658 h 1727200"/>
              <a:gd name="connsiteX3" fmla="*/ 3935185 w 3935185"/>
              <a:gd name="connsiteY3" fmla="*/ 3629 h 1727200"/>
              <a:gd name="connsiteX4" fmla="*/ 0 w 3935185"/>
              <a:gd name="connsiteY4" fmla="*/ 0 h 1727200"/>
              <a:gd name="connsiteX0" fmla="*/ 0 w 3928835"/>
              <a:gd name="connsiteY0" fmla="*/ 0 h 1727200"/>
              <a:gd name="connsiteX1" fmla="*/ 2452914 w 3928835"/>
              <a:gd name="connsiteY1" fmla="*/ 1727200 h 1727200"/>
              <a:gd name="connsiteX2" fmla="*/ 3922485 w 3928835"/>
              <a:gd name="connsiteY2" fmla="*/ 667658 h 1727200"/>
              <a:gd name="connsiteX3" fmla="*/ 3928835 w 3928835"/>
              <a:gd name="connsiteY3" fmla="*/ 3629 h 1727200"/>
              <a:gd name="connsiteX4" fmla="*/ 0 w 3928835"/>
              <a:gd name="connsiteY4" fmla="*/ 0 h 1727200"/>
              <a:gd name="connsiteX0" fmla="*/ 0 w 3928835"/>
              <a:gd name="connsiteY0" fmla="*/ 0 h 1695450"/>
              <a:gd name="connsiteX1" fmla="*/ 2446564 w 3928835"/>
              <a:gd name="connsiteY1" fmla="*/ 1695450 h 1695450"/>
              <a:gd name="connsiteX2" fmla="*/ 3922485 w 3928835"/>
              <a:gd name="connsiteY2" fmla="*/ 667658 h 1695450"/>
              <a:gd name="connsiteX3" fmla="*/ 3928835 w 3928835"/>
              <a:gd name="connsiteY3" fmla="*/ 3629 h 1695450"/>
              <a:gd name="connsiteX4" fmla="*/ 0 w 3928835"/>
              <a:gd name="connsiteY4" fmla="*/ 0 h 1695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28835" h="1695450">
                <a:moveTo>
                  <a:pt x="0" y="0"/>
                </a:moveTo>
                <a:lnTo>
                  <a:pt x="2446564" y="1695450"/>
                </a:lnTo>
                <a:lnTo>
                  <a:pt x="3922485" y="667658"/>
                </a:lnTo>
                <a:cubicBezTo>
                  <a:pt x="3924602" y="446315"/>
                  <a:pt x="3926718" y="224972"/>
                  <a:pt x="3928835" y="3629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1"/>
              </a:gs>
              <a:gs pos="68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9502F6D-AE18-4E96-81D6-9DF49D2A7D42}"/>
              </a:ext>
            </a:extLst>
          </p:cNvPr>
          <p:cNvSpPr/>
          <p:nvPr userDrawn="1"/>
        </p:nvSpPr>
        <p:spPr>
          <a:xfrm>
            <a:off x="4330" y="4433455"/>
            <a:ext cx="3514725" cy="2438400"/>
          </a:xfrm>
          <a:custGeom>
            <a:avLst/>
            <a:gdLst>
              <a:gd name="connsiteX0" fmla="*/ 27710 w 3532910"/>
              <a:gd name="connsiteY0" fmla="*/ 0 h 2438400"/>
              <a:gd name="connsiteX1" fmla="*/ 3532910 w 3532910"/>
              <a:gd name="connsiteY1" fmla="*/ 2438400 h 2438400"/>
              <a:gd name="connsiteX2" fmla="*/ 0 w 3532910"/>
              <a:gd name="connsiteY2" fmla="*/ 2438400 h 2438400"/>
              <a:gd name="connsiteX3" fmla="*/ 27710 w 3532910"/>
              <a:gd name="connsiteY3" fmla="*/ 0 h 2438400"/>
              <a:gd name="connsiteX0" fmla="*/ 18185 w 3532910"/>
              <a:gd name="connsiteY0" fmla="*/ 0 h 2438400"/>
              <a:gd name="connsiteX1" fmla="*/ 3532910 w 3532910"/>
              <a:gd name="connsiteY1" fmla="*/ 2438400 h 2438400"/>
              <a:gd name="connsiteX2" fmla="*/ 0 w 3532910"/>
              <a:gd name="connsiteY2" fmla="*/ 2438400 h 2438400"/>
              <a:gd name="connsiteX3" fmla="*/ 18185 w 3532910"/>
              <a:gd name="connsiteY3" fmla="*/ 0 h 2438400"/>
              <a:gd name="connsiteX0" fmla="*/ 0 w 3514725"/>
              <a:gd name="connsiteY0" fmla="*/ 0 h 2438400"/>
              <a:gd name="connsiteX1" fmla="*/ 3514725 w 3514725"/>
              <a:gd name="connsiteY1" fmla="*/ 2438400 h 2438400"/>
              <a:gd name="connsiteX2" fmla="*/ 865 w 3514725"/>
              <a:gd name="connsiteY2" fmla="*/ 2432050 h 2438400"/>
              <a:gd name="connsiteX3" fmla="*/ 0 w 3514725"/>
              <a:gd name="connsiteY3" fmla="*/ 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14725" h="2438400">
                <a:moveTo>
                  <a:pt x="0" y="0"/>
                </a:moveTo>
                <a:lnTo>
                  <a:pt x="3514725" y="2438400"/>
                </a:lnTo>
                <a:lnTo>
                  <a:pt x="865" y="2432050"/>
                </a:lnTo>
                <a:cubicBezTo>
                  <a:pt x="577" y="1621367"/>
                  <a:pt x="288" y="810683"/>
                  <a:pt x="0" y="0"/>
                </a:cubicBezTo>
                <a:close/>
              </a:path>
            </a:pathLst>
          </a:custGeom>
          <a:gradFill>
            <a:gsLst>
              <a:gs pos="28000">
                <a:schemeClr val="accent2"/>
              </a:gs>
              <a:gs pos="92000">
                <a:schemeClr val="accent2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3356F0A-7DF1-40F0-A569-3CE2BB72F66F}"/>
              </a:ext>
            </a:extLst>
          </p:cNvPr>
          <p:cNvSpPr txBox="1">
            <a:spLocks/>
          </p:cNvSpPr>
          <p:nvPr userDrawn="1"/>
        </p:nvSpPr>
        <p:spPr>
          <a:xfrm flipH="1">
            <a:off x="457196" y="6507815"/>
            <a:ext cx="542041" cy="1908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A285110E-A93C-E24B-BA01-8EFF0EF70079}" type="slidenum">
              <a:rPr lang="en-US" sz="800" b="1" smtClean="0">
                <a:solidFill>
                  <a:schemeClr val="bg1"/>
                </a:solidFill>
                <a:latin typeface="+mn-lt"/>
                <a:ea typeface="Cambria" panose="02040503050406030204" pitchFamily="18" charset="0"/>
              </a:rPr>
              <a:pPr algn="l"/>
              <a:t>‹#›</a:t>
            </a:fld>
            <a:endParaRPr lang="en-US" b="1">
              <a:solidFill>
                <a:schemeClr val="bg1"/>
              </a:solidFill>
              <a:latin typeface="+mn-lt"/>
              <a:ea typeface="Cambria" panose="02040503050406030204" pitchFamily="18" charset="0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CBFE6EDF-885A-49D6-8733-1E308DB365B5}"/>
              </a:ext>
            </a:extLst>
          </p:cNvPr>
          <p:cNvSpPr/>
          <p:nvPr userDrawn="1"/>
        </p:nvSpPr>
        <p:spPr>
          <a:xfrm>
            <a:off x="637309" y="4365049"/>
            <a:ext cx="5209309" cy="2492952"/>
          </a:xfrm>
          <a:custGeom>
            <a:avLst/>
            <a:gdLst>
              <a:gd name="connsiteX0" fmla="*/ 2105891 w 5209309"/>
              <a:gd name="connsiteY0" fmla="*/ 2521527 h 2521527"/>
              <a:gd name="connsiteX1" fmla="*/ 0 w 5209309"/>
              <a:gd name="connsiteY1" fmla="*/ 1122218 h 2521527"/>
              <a:gd name="connsiteX2" fmla="*/ 1620982 w 5209309"/>
              <a:gd name="connsiteY2" fmla="*/ 0 h 2521527"/>
              <a:gd name="connsiteX3" fmla="*/ 5209309 w 5209309"/>
              <a:gd name="connsiteY3" fmla="*/ 2521527 h 2521527"/>
              <a:gd name="connsiteX4" fmla="*/ 2105891 w 5209309"/>
              <a:gd name="connsiteY4" fmla="*/ 2521527 h 2521527"/>
              <a:gd name="connsiteX0" fmla="*/ 2105891 w 5209309"/>
              <a:gd name="connsiteY0" fmla="*/ 2492952 h 2492952"/>
              <a:gd name="connsiteX1" fmla="*/ 0 w 5209309"/>
              <a:gd name="connsiteY1" fmla="*/ 1093643 h 2492952"/>
              <a:gd name="connsiteX2" fmla="*/ 1582882 w 5209309"/>
              <a:gd name="connsiteY2" fmla="*/ 0 h 2492952"/>
              <a:gd name="connsiteX3" fmla="*/ 5209309 w 5209309"/>
              <a:gd name="connsiteY3" fmla="*/ 2492952 h 2492952"/>
              <a:gd name="connsiteX4" fmla="*/ 2105891 w 5209309"/>
              <a:gd name="connsiteY4" fmla="*/ 2492952 h 2492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9309" h="2492952">
                <a:moveTo>
                  <a:pt x="2105891" y="2492952"/>
                </a:moveTo>
                <a:lnTo>
                  <a:pt x="0" y="1093643"/>
                </a:lnTo>
                <a:lnTo>
                  <a:pt x="1582882" y="0"/>
                </a:lnTo>
                <a:lnTo>
                  <a:pt x="5209309" y="2492952"/>
                </a:lnTo>
                <a:lnTo>
                  <a:pt x="2105891" y="2492952"/>
                </a:lnTo>
                <a:close/>
              </a:path>
            </a:pathLst>
          </a:custGeom>
          <a:gradFill>
            <a:gsLst>
              <a:gs pos="16000">
                <a:schemeClr val="accent1"/>
              </a:gs>
              <a:gs pos="86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3E0EEB02-59D2-4A24-982A-783B8C7DF488}"/>
              </a:ext>
            </a:extLst>
          </p:cNvPr>
          <p:cNvSpPr/>
          <p:nvPr userDrawn="1"/>
        </p:nvSpPr>
        <p:spPr>
          <a:xfrm rot="10800000">
            <a:off x="6913089" y="646842"/>
            <a:ext cx="5209309" cy="2492952"/>
          </a:xfrm>
          <a:custGeom>
            <a:avLst/>
            <a:gdLst>
              <a:gd name="connsiteX0" fmla="*/ 2105891 w 5209309"/>
              <a:gd name="connsiteY0" fmla="*/ 2521527 h 2521527"/>
              <a:gd name="connsiteX1" fmla="*/ 0 w 5209309"/>
              <a:gd name="connsiteY1" fmla="*/ 1122218 h 2521527"/>
              <a:gd name="connsiteX2" fmla="*/ 1620982 w 5209309"/>
              <a:gd name="connsiteY2" fmla="*/ 0 h 2521527"/>
              <a:gd name="connsiteX3" fmla="*/ 5209309 w 5209309"/>
              <a:gd name="connsiteY3" fmla="*/ 2521527 h 2521527"/>
              <a:gd name="connsiteX4" fmla="*/ 2105891 w 5209309"/>
              <a:gd name="connsiteY4" fmla="*/ 2521527 h 2521527"/>
              <a:gd name="connsiteX0" fmla="*/ 2105891 w 5209309"/>
              <a:gd name="connsiteY0" fmla="*/ 2492952 h 2492952"/>
              <a:gd name="connsiteX1" fmla="*/ 0 w 5209309"/>
              <a:gd name="connsiteY1" fmla="*/ 1093643 h 2492952"/>
              <a:gd name="connsiteX2" fmla="*/ 1582882 w 5209309"/>
              <a:gd name="connsiteY2" fmla="*/ 0 h 2492952"/>
              <a:gd name="connsiteX3" fmla="*/ 5209309 w 5209309"/>
              <a:gd name="connsiteY3" fmla="*/ 2492952 h 2492952"/>
              <a:gd name="connsiteX4" fmla="*/ 2105891 w 5209309"/>
              <a:gd name="connsiteY4" fmla="*/ 2492952 h 2492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9309" h="2492952">
                <a:moveTo>
                  <a:pt x="2105891" y="2492952"/>
                </a:moveTo>
                <a:lnTo>
                  <a:pt x="0" y="1093643"/>
                </a:lnTo>
                <a:lnTo>
                  <a:pt x="1582882" y="0"/>
                </a:lnTo>
                <a:lnTo>
                  <a:pt x="5209309" y="2492952"/>
                </a:lnTo>
                <a:lnTo>
                  <a:pt x="2105891" y="2492952"/>
                </a:lnTo>
                <a:close/>
              </a:path>
            </a:pathLst>
          </a:custGeom>
          <a:gradFill>
            <a:gsLst>
              <a:gs pos="16000">
                <a:schemeClr val="bg2"/>
              </a:gs>
              <a:gs pos="69000">
                <a:schemeClr val="bg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DCC3BF03-3053-4B80-8C13-8795312D4FE4}"/>
              </a:ext>
            </a:extLst>
          </p:cNvPr>
          <p:cNvSpPr/>
          <p:nvPr userDrawn="1"/>
        </p:nvSpPr>
        <p:spPr>
          <a:xfrm>
            <a:off x="9464040" y="5716905"/>
            <a:ext cx="2727960" cy="1141095"/>
          </a:xfrm>
          <a:custGeom>
            <a:avLst/>
            <a:gdLst>
              <a:gd name="connsiteX0" fmla="*/ 2727960 w 2727960"/>
              <a:gd name="connsiteY0" fmla="*/ 731520 h 1112520"/>
              <a:gd name="connsiteX1" fmla="*/ 1630680 w 2727960"/>
              <a:gd name="connsiteY1" fmla="*/ 0 h 1112520"/>
              <a:gd name="connsiteX2" fmla="*/ 0 w 2727960"/>
              <a:gd name="connsiteY2" fmla="*/ 1112520 h 1112520"/>
              <a:gd name="connsiteX3" fmla="*/ 2712720 w 2727960"/>
              <a:gd name="connsiteY3" fmla="*/ 1112520 h 1112520"/>
              <a:gd name="connsiteX4" fmla="*/ 2727960 w 2727960"/>
              <a:gd name="connsiteY4" fmla="*/ 731520 h 1112520"/>
              <a:gd name="connsiteX0" fmla="*/ 2727960 w 2727960"/>
              <a:gd name="connsiteY0" fmla="*/ 760095 h 1141095"/>
              <a:gd name="connsiteX1" fmla="*/ 1630680 w 2727960"/>
              <a:gd name="connsiteY1" fmla="*/ 0 h 1141095"/>
              <a:gd name="connsiteX2" fmla="*/ 0 w 2727960"/>
              <a:gd name="connsiteY2" fmla="*/ 1141095 h 1141095"/>
              <a:gd name="connsiteX3" fmla="*/ 2712720 w 2727960"/>
              <a:gd name="connsiteY3" fmla="*/ 1141095 h 1141095"/>
              <a:gd name="connsiteX4" fmla="*/ 2727960 w 2727960"/>
              <a:gd name="connsiteY4" fmla="*/ 760095 h 1141095"/>
              <a:gd name="connsiteX0" fmla="*/ 2727960 w 2727960"/>
              <a:gd name="connsiteY0" fmla="*/ 760095 h 1141095"/>
              <a:gd name="connsiteX1" fmla="*/ 1630680 w 2727960"/>
              <a:gd name="connsiteY1" fmla="*/ 0 h 1141095"/>
              <a:gd name="connsiteX2" fmla="*/ 0 w 2727960"/>
              <a:gd name="connsiteY2" fmla="*/ 1141095 h 1141095"/>
              <a:gd name="connsiteX3" fmla="*/ 2722245 w 2727960"/>
              <a:gd name="connsiteY3" fmla="*/ 1141095 h 1141095"/>
              <a:gd name="connsiteX4" fmla="*/ 2727960 w 2727960"/>
              <a:gd name="connsiteY4" fmla="*/ 760095 h 1141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27960" h="1141095">
                <a:moveTo>
                  <a:pt x="2727960" y="760095"/>
                </a:moveTo>
                <a:lnTo>
                  <a:pt x="1630680" y="0"/>
                </a:lnTo>
                <a:lnTo>
                  <a:pt x="0" y="1141095"/>
                </a:lnTo>
                <a:lnTo>
                  <a:pt x="2722245" y="1141095"/>
                </a:lnTo>
                <a:lnTo>
                  <a:pt x="2727960" y="760095"/>
                </a:lnTo>
                <a:close/>
              </a:path>
            </a:pathLst>
          </a:custGeom>
          <a:gradFill>
            <a:gsLst>
              <a:gs pos="50000">
                <a:schemeClr val="accent3">
                  <a:alpha val="80000"/>
                </a:schemeClr>
              </a:gs>
              <a:gs pos="87000">
                <a:schemeClr val="accent3"/>
              </a:gs>
              <a:gs pos="0">
                <a:schemeClr val="accent3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C560E2A1-18D0-4B25-8E71-D32FA6E86755}"/>
              </a:ext>
            </a:extLst>
          </p:cNvPr>
          <p:cNvSpPr txBox="1">
            <a:spLocks/>
          </p:cNvSpPr>
          <p:nvPr userDrawn="1"/>
        </p:nvSpPr>
        <p:spPr>
          <a:xfrm>
            <a:off x="728219" y="6507815"/>
            <a:ext cx="2319251" cy="190848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US" sz="80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29E7192-E5A0-9547-BF4B-3EE1B43A5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32906" y="6482290"/>
            <a:ext cx="847082" cy="246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578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  <p15:guide id="2" pos="7401">
          <p15:clr>
            <a:srgbClr val="FBAE40"/>
          </p15:clr>
        </p15:guide>
        <p15:guide id="3" orient="horz" pos="232">
          <p15:clr>
            <a:srgbClr val="FBAE40"/>
          </p15:clr>
        </p15:guide>
        <p15:guide id="4" orient="horz" pos="4088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in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64594" y="6546567"/>
            <a:ext cx="682256" cy="2154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85110E-A93C-E24B-BA01-8EFF0EF70079}" type="slidenum">
              <a:rPr lang="en-US" b="1" smtClean="0">
                <a:solidFill>
                  <a:schemeClr val="tx1"/>
                </a:solidFill>
                <a:latin typeface="+mn-lt"/>
              </a:rPr>
              <a:pPr/>
              <a:t>‹#›</a:t>
            </a:fld>
            <a:endParaRPr lang="en-US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05722" y="6546567"/>
            <a:ext cx="23614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800">
                <a:solidFill>
                  <a:schemeClr val="tx1"/>
                </a:solidFill>
                <a:latin typeface="+mn-lt"/>
                <a:ea typeface="Georgia" charset="0"/>
                <a:cs typeface="Georgia" charset="0"/>
              </a:rPr>
              <a:t>© 2019 Copyright Genpact. All Rights Reserved.</a:t>
            </a: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71715"/>
            <a:ext cx="11277600" cy="533400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30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Content slide title goes here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34633A08-4C37-4CC3-A2EF-74DBF0150E5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94219" y="6463445"/>
            <a:ext cx="838200" cy="308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781597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hutterfly Orange Bullets top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D846C8-1344-4692-9448-185B19CD7915}"/>
              </a:ext>
            </a:extLst>
          </p:cNvPr>
          <p:cNvSpPr/>
          <p:nvPr userDrawn="1"/>
        </p:nvSpPr>
        <p:spPr>
          <a:xfrm rot="5400000">
            <a:off x="5943886" y="-5143216"/>
            <a:ext cx="1104899" cy="113913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90F9C0D-C8A6-4EC0-9776-A2AF89A39314}"/>
              </a:ext>
            </a:extLst>
          </p:cNvPr>
          <p:cNvSpPr/>
          <p:nvPr userDrawn="1"/>
        </p:nvSpPr>
        <p:spPr>
          <a:xfrm rot="5400000">
            <a:off x="-152114" y="152118"/>
            <a:ext cx="1104899" cy="8006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82DFF-C47C-404B-A388-AED72D6471DC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021404" y="354760"/>
            <a:ext cx="10953108" cy="72773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CED936-BB1E-4EBF-AAA3-7EAB7C56C1DA}"/>
              </a:ext>
            </a:extLst>
          </p:cNvPr>
          <p:cNvSpPr>
            <a:spLocks noGrp="1"/>
          </p:cNvSpPr>
          <p:nvPr userDrawn="1">
            <p:ph type="sldNum" sz="quarter" idx="10"/>
          </p:nvPr>
        </p:nvSpPr>
        <p:spPr>
          <a:xfrm>
            <a:off x="11637738" y="6489329"/>
            <a:ext cx="549876" cy="365125"/>
          </a:xfrm>
        </p:spPr>
        <p:txBody>
          <a:bodyPr/>
          <a:lstStyle/>
          <a:p>
            <a:fld id="{A927331B-E480-48DB-8DB3-E51337DAD101}" type="slidenum">
              <a:rPr lang="en-US" smtClean="0"/>
              <a:pPr/>
              <a:t>‹#›</a:t>
            </a:fld>
            <a:endParaRPr lang="en-US" sz="16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B4D0381-5B2A-4F8A-AA6B-F84FBE640144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1021404" y="1203513"/>
            <a:ext cx="10953109" cy="5459226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EDB626-9E90-4D0A-9761-C0FD7F40BD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70714" y="6648206"/>
            <a:ext cx="1209622" cy="180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936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7363E61-7CF1-A94D-B206-5B49A9CC19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8966" y="141209"/>
            <a:ext cx="9663034" cy="6716791"/>
          </a:xfrm>
          <a:custGeom>
            <a:avLst/>
            <a:gdLst>
              <a:gd name="connsiteX0" fmla="*/ 9663034 w 9663034"/>
              <a:gd name="connsiteY0" fmla="*/ 0 h 6716791"/>
              <a:gd name="connsiteX1" fmla="*/ 9663034 w 9663034"/>
              <a:gd name="connsiteY1" fmla="*/ 4814575 h 6716791"/>
              <a:gd name="connsiteX2" fmla="*/ 6941731 w 9663034"/>
              <a:gd name="connsiteY2" fmla="*/ 6716791 h 6716791"/>
              <a:gd name="connsiteX3" fmla="*/ 0 w 9663034"/>
              <a:gd name="connsiteY3" fmla="*/ 6716791 h 6716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63034" h="6716791">
                <a:moveTo>
                  <a:pt x="9663034" y="0"/>
                </a:moveTo>
                <a:lnTo>
                  <a:pt x="9663034" y="4814575"/>
                </a:lnTo>
                <a:lnTo>
                  <a:pt x="6941731" y="6716791"/>
                </a:lnTo>
                <a:lnTo>
                  <a:pt x="0" y="67167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2645439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6A93C236-DDC8-AB42-B158-C3A75D5725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EB28338C-0118-4339-8B11-1628D97D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1246559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2</a:t>
            </a:r>
            <a:endParaRPr lang="en-GB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842DA984-1D2F-2140-8491-B516D776CAC4}"/>
              </a:ext>
            </a:extLst>
          </p:cNvPr>
          <p:cNvSpPr/>
          <p:nvPr userDrawn="1"/>
        </p:nvSpPr>
        <p:spPr>
          <a:xfrm>
            <a:off x="0" y="4910678"/>
            <a:ext cx="4279900" cy="1947322"/>
          </a:xfrm>
          <a:custGeom>
            <a:avLst/>
            <a:gdLst>
              <a:gd name="connsiteX0" fmla="*/ 1467015 w 4279900"/>
              <a:gd name="connsiteY0" fmla="*/ 0 h 1947322"/>
              <a:gd name="connsiteX1" fmla="*/ 4279900 w 4279900"/>
              <a:gd name="connsiteY1" fmla="*/ 1947322 h 1947322"/>
              <a:gd name="connsiteX2" fmla="*/ 0 w 4279900"/>
              <a:gd name="connsiteY2" fmla="*/ 1947322 h 1947322"/>
              <a:gd name="connsiteX3" fmla="*/ 0 w 4279900"/>
              <a:gd name="connsiteY3" fmla="*/ 1020577 h 194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79900" h="1947322">
                <a:moveTo>
                  <a:pt x="1467015" y="0"/>
                </a:moveTo>
                <a:lnTo>
                  <a:pt x="4279900" y="1947322"/>
                </a:lnTo>
                <a:lnTo>
                  <a:pt x="0" y="1947322"/>
                </a:lnTo>
                <a:lnTo>
                  <a:pt x="0" y="102057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321975A5-5726-314A-B546-DA0044580E14}"/>
              </a:ext>
            </a:extLst>
          </p:cNvPr>
          <p:cNvSpPr/>
          <p:nvPr userDrawn="1"/>
        </p:nvSpPr>
        <p:spPr>
          <a:xfrm>
            <a:off x="1745857" y="5440650"/>
            <a:ext cx="2442751" cy="1417350"/>
          </a:xfrm>
          <a:custGeom>
            <a:avLst/>
            <a:gdLst>
              <a:gd name="connsiteX0" fmla="*/ 2031703 w 2442751"/>
              <a:gd name="connsiteY0" fmla="*/ 0 h 1417350"/>
              <a:gd name="connsiteX1" fmla="*/ 2442751 w 2442751"/>
              <a:gd name="connsiteY1" fmla="*/ 267995 h 1417350"/>
              <a:gd name="connsiteX2" fmla="*/ 783199 w 2442751"/>
              <a:gd name="connsiteY2" fmla="*/ 1417350 h 1417350"/>
              <a:gd name="connsiteX3" fmla="*/ 0 w 2442751"/>
              <a:gd name="connsiteY3" fmla="*/ 1417350 h 141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751" h="1417350">
                <a:moveTo>
                  <a:pt x="2031703" y="0"/>
                </a:moveTo>
                <a:lnTo>
                  <a:pt x="2442751" y="267995"/>
                </a:lnTo>
                <a:lnTo>
                  <a:pt x="783199" y="1417350"/>
                </a:lnTo>
                <a:lnTo>
                  <a:pt x="0" y="141735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8D284C-7154-401F-9518-EB35035E34D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30" name="Freeform 28">
            <a:extLst>
              <a:ext uri="{FF2B5EF4-FFF2-40B4-BE49-F238E27FC236}">
                <a16:creationId xmlns:a16="http://schemas.microsoft.com/office/drawing/2014/main" id="{447BDDC6-505D-4732-B677-284CBEC734D1}"/>
              </a:ext>
            </a:extLst>
          </p:cNvPr>
          <p:cNvSpPr/>
          <p:nvPr userDrawn="1"/>
        </p:nvSpPr>
        <p:spPr>
          <a:xfrm rot="10800000">
            <a:off x="9763185" y="-1"/>
            <a:ext cx="2428815" cy="1426848"/>
          </a:xfrm>
          <a:custGeom>
            <a:avLst/>
            <a:gdLst>
              <a:gd name="connsiteX0" fmla="*/ 991465 w 2428815"/>
              <a:gd name="connsiteY0" fmla="*/ 1426848 h 1426848"/>
              <a:gd name="connsiteX1" fmla="*/ 0 w 2428815"/>
              <a:gd name="connsiteY1" fmla="*/ 1426848 h 1426848"/>
              <a:gd name="connsiteX2" fmla="*/ 0 w 2428815"/>
              <a:gd name="connsiteY2" fmla="*/ 1283606 h 1426848"/>
              <a:gd name="connsiteX3" fmla="*/ 1845489 w 2428815"/>
              <a:gd name="connsiteY3" fmla="*/ 0 h 1426848"/>
              <a:gd name="connsiteX4" fmla="*/ 2428815 w 2428815"/>
              <a:gd name="connsiteY4" fmla="*/ 399380 h 1426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8815" h="1426848">
                <a:moveTo>
                  <a:pt x="991465" y="1426848"/>
                </a:moveTo>
                <a:lnTo>
                  <a:pt x="0" y="1426848"/>
                </a:lnTo>
                <a:lnTo>
                  <a:pt x="0" y="1283606"/>
                </a:lnTo>
                <a:lnTo>
                  <a:pt x="1845489" y="0"/>
                </a:lnTo>
                <a:lnTo>
                  <a:pt x="2428815" y="39938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9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A5D467-3077-47DD-939A-561425A39FE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8142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3627052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519455F8-E443-2E47-84AE-B5E3AB72DCED}"/>
              </a:ext>
            </a:extLst>
          </p:cNvPr>
          <p:cNvSpPr/>
          <p:nvPr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7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5C50561-D087-47A2-8E0E-B095F51A359E}"/>
              </a:ext>
            </a:extLst>
          </p:cNvPr>
          <p:cNvSpPr/>
          <p:nvPr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1CDB2D-7FA5-4BA7-AEA0-FE2551E49C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260570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23" name="Freeform 18">
            <a:extLst>
              <a:ext uri="{FF2B5EF4-FFF2-40B4-BE49-F238E27FC236}">
                <a16:creationId xmlns:a16="http://schemas.microsoft.com/office/drawing/2014/main" id="{6F10E259-8957-4A25-A1FE-6233728BBD6A}"/>
              </a:ext>
            </a:extLst>
          </p:cNvPr>
          <p:cNvSpPr/>
          <p:nvPr userDrawn="1"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27166BE-C525-4B89-9317-E7513C3FD974}"/>
              </a:ext>
            </a:extLst>
          </p:cNvPr>
          <p:cNvSpPr/>
          <p:nvPr userDrawn="1"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E0280A-C911-477A-9CA7-94686E8EAF5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51B5DFE-8647-49A7-BA9A-2D61704E1D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9E407E-3FDA-43A1-8AFD-D4C5DBD5A7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385778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>
            <a:extLst>
              <a:ext uri="{FF2B5EF4-FFF2-40B4-BE49-F238E27FC236}">
                <a16:creationId xmlns:a16="http://schemas.microsoft.com/office/drawing/2014/main" id="{D80F8535-1B37-C640-9522-9FFE23DA8F4E}"/>
              </a:ext>
            </a:extLst>
          </p:cNvPr>
          <p:cNvSpPr/>
          <p:nvPr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E0BA6F1B-DB4E-4726-82C8-F69E131B99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74257" y="2540943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95833C23-279C-584E-A024-2A31807A9274}"/>
              </a:ext>
            </a:extLst>
          </p:cNvPr>
          <p:cNvSpPr/>
          <p:nvPr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6F00C93-F8EE-4584-A029-7488D3966167}"/>
              </a:ext>
            </a:extLst>
          </p:cNvPr>
          <p:cNvSpPr/>
          <p:nvPr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CECEFDB-7B1D-4D53-AFB2-2A3E81E50E9C}"/>
              </a:ext>
            </a:extLst>
          </p:cNvPr>
          <p:cNvSpPr/>
          <p:nvPr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997A980-7EC0-453E-ABF1-4DC83EB7CB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1239876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4</a:t>
            </a:r>
            <a:endParaRPr lang="en-GB"/>
          </a:p>
        </p:txBody>
      </p:sp>
      <p:sp>
        <p:nvSpPr>
          <p:cNvPr id="20" name="Freeform 23">
            <a:extLst>
              <a:ext uri="{FF2B5EF4-FFF2-40B4-BE49-F238E27FC236}">
                <a16:creationId xmlns:a16="http://schemas.microsoft.com/office/drawing/2014/main" id="{4AACB9C7-803C-4152-82CB-67927F253134}"/>
              </a:ext>
            </a:extLst>
          </p:cNvPr>
          <p:cNvSpPr/>
          <p:nvPr userDrawn="1"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38F6177-211A-49BE-ABB9-97949A54E26E}"/>
              </a:ext>
            </a:extLst>
          </p:cNvPr>
          <p:cNvSpPr/>
          <p:nvPr userDrawn="1"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D7EF89F-2526-415C-BBDF-59E49A45CE8B}"/>
              </a:ext>
            </a:extLst>
          </p:cNvPr>
          <p:cNvSpPr/>
          <p:nvPr userDrawn="1"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480B66D4-A5F5-624A-B6B3-939B1AD7D213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>
                  <a:alpha val="0"/>
                </a:schemeClr>
              </a:gs>
              <a:gs pos="92000">
                <a:schemeClr val="accent1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 21">
            <a:extLst>
              <a:ext uri="{FF2B5EF4-FFF2-40B4-BE49-F238E27FC236}">
                <a16:creationId xmlns:a16="http://schemas.microsoft.com/office/drawing/2014/main" id="{2168F68C-9AED-427E-85F9-E8C1393F181B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Freeform 16">
            <a:extLst>
              <a:ext uri="{FF2B5EF4-FFF2-40B4-BE49-F238E27FC236}">
                <a16:creationId xmlns:a16="http://schemas.microsoft.com/office/drawing/2014/main" id="{B65377BA-7EEE-4F72-8CAE-57BDF7345B46}"/>
              </a:ext>
            </a:extLst>
          </p:cNvPr>
          <p:cNvSpPr/>
          <p:nvPr userDrawn="1"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A764AC80-FAC7-4BD1-B73A-91406AC014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8134"/>
            <a:ext cx="935900" cy="270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A45E612-A8E3-4C77-9438-EC1BFADA331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079725B-1CBE-4221-997B-07640A54E0D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2362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24">
            <a:extLst>
              <a:ext uri="{FF2B5EF4-FFF2-40B4-BE49-F238E27FC236}">
                <a16:creationId xmlns:a16="http://schemas.microsoft.com/office/drawing/2014/main" id="{5B049D90-7C0C-2543-A4A6-22DE2C411CA6}"/>
              </a:ext>
            </a:extLst>
          </p:cNvPr>
          <p:cNvSpPr/>
          <p:nvPr/>
        </p:nvSpPr>
        <p:spPr>
          <a:xfrm>
            <a:off x="0" y="4900507"/>
            <a:ext cx="4262572" cy="1957493"/>
          </a:xfrm>
          <a:custGeom>
            <a:avLst/>
            <a:gdLst>
              <a:gd name="connsiteX0" fmla="*/ 1462275 w 4262572"/>
              <a:gd name="connsiteY0" fmla="*/ 0 h 1957493"/>
              <a:gd name="connsiteX1" fmla="*/ 4262572 w 4262572"/>
              <a:gd name="connsiteY1" fmla="*/ 1957493 h 1957493"/>
              <a:gd name="connsiteX2" fmla="*/ 0 w 4262572"/>
              <a:gd name="connsiteY2" fmla="*/ 1957493 h 1957493"/>
              <a:gd name="connsiteX3" fmla="*/ 0 w 4262572"/>
              <a:gd name="connsiteY3" fmla="*/ 1021999 h 195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62572" h="1957493">
                <a:moveTo>
                  <a:pt x="1462275" y="0"/>
                </a:moveTo>
                <a:lnTo>
                  <a:pt x="4262572" y="1957493"/>
                </a:lnTo>
                <a:lnTo>
                  <a:pt x="0" y="1957493"/>
                </a:lnTo>
                <a:lnTo>
                  <a:pt x="0" y="1021999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29773AE-3026-4994-9E24-119377549C30}"/>
              </a:ext>
            </a:extLst>
          </p:cNvPr>
          <p:cNvSpPr/>
          <p:nvPr/>
        </p:nvSpPr>
        <p:spPr>
          <a:xfrm>
            <a:off x="1739901" y="5448182"/>
            <a:ext cx="4065894" cy="1412994"/>
          </a:xfrm>
          <a:custGeom>
            <a:avLst/>
            <a:gdLst>
              <a:gd name="connsiteX0" fmla="*/ 0 w 4467225"/>
              <a:gd name="connsiteY0" fmla="*/ 1533525 h 1562100"/>
              <a:gd name="connsiteX1" fmla="*/ 2228850 w 4467225"/>
              <a:gd name="connsiteY1" fmla="*/ 0 h 1562100"/>
              <a:gd name="connsiteX2" fmla="*/ 4467225 w 4467225"/>
              <a:gd name="connsiteY2" fmla="*/ 1562100 h 1562100"/>
              <a:gd name="connsiteX3" fmla="*/ 0 w 4467225"/>
              <a:gd name="connsiteY3" fmla="*/ 1533525 h 1562100"/>
              <a:gd name="connsiteX0" fmla="*/ 0 w 4505325"/>
              <a:gd name="connsiteY0" fmla="*/ 1552575 h 1562100"/>
              <a:gd name="connsiteX1" fmla="*/ 2266950 w 4505325"/>
              <a:gd name="connsiteY1" fmla="*/ 0 h 1562100"/>
              <a:gd name="connsiteX2" fmla="*/ 4505325 w 4505325"/>
              <a:gd name="connsiteY2" fmla="*/ 1562100 h 1562100"/>
              <a:gd name="connsiteX3" fmla="*/ 0 w 4505325"/>
              <a:gd name="connsiteY3" fmla="*/ 1552575 h 1562100"/>
              <a:gd name="connsiteX0" fmla="*/ 0 w 4514850"/>
              <a:gd name="connsiteY0" fmla="*/ 1562100 h 1562100"/>
              <a:gd name="connsiteX1" fmla="*/ 2276475 w 4514850"/>
              <a:gd name="connsiteY1" fmla="*/ 0 h 1562100"/>
              <a:gd name="connsiteX2" fmla="*/ 4514850 w 4514850"/>
              <a:gd name="connsiteY2" fmla="*/ 1562100 h 1562100"/>
              <a:gd name="connsiteX3" fmla="*/ 0 w 4514850"/>
              <a:gd name="connsiteY3" fmla="*/ 1562100 h 1562100"/>
              <a:gd name="connsiteX0" fmla="*/ 0 w 4514850"/>
              <a:gd name="connsiteY0" fmla="*/ 1410144 h 1410144"/>
              <a:gd name="connsiteX1" fmla="*/ 2265873 w 4514850"/>
              <a:gd name="connsiteY1" fmla="*/ 0 h 1410144"/>
              <a:gd name="connsiteX2" fmla="*/ 4514850 w 4514850"/>
              <a:gd name="connsiteY2" fmla="*/ 1410144 h 1410144"/>
              <a:gd name="connsiteX3" fmla="*/ 0 w 4514850"/>
              <a:gd name="connsiteY3" fmla="*/ 1410144 h 1410144"/>
              <a:gd name="connsiteX0" fmla="*/ 0 w 4514850"/>
              <a:gd name="connsiteY0" fmla="*/ 1569168 h 1569168"/>
              <a:gd name="connsiteX1" fmla="*/ 2265873 w 4514850"/>
              <a:gd name="connsiteY1" fmla="*/ 0 h 1569168"/>
              <a:gd name="connsiteX2" fmla="*/ 4514850 w 4514850"/>
              <a:gd name="connsiteY2" fmla="*/ 1569168 h 1569168"/>
              <a:gd name="connsiteX3" fmla="*/ 0 w 4514850"/>
              <a:gd name="connsiteY3" fmla="*/ 1569168 h 1569168"/>
              <a:gd name="connsiteX0" fmla="*/ 0 w 4525452"/>
              <a:gd name="connsiteY0" fmla="*/ 1569168 h 1572702"/>
              <a:gd name="connsiteX1" fmla="*/ 2265873 w 4525452"/>
              <a:gd name="connsiteY1" fmla="*/ 0 h 1572702"/>
              <a:gd name="connsiteX2" fmla="*/ 4525452 w 4525452"/>
              <a:gd name="connsiteY2" fmla="*/ 1572702 h 1572702"/>
              <a:gd name="connsiteX3" fmla="*/ 0 w 4525452"/>
              <a:gd name="connsiteY3" fmla="*/ 1569168 h 1572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5452" h="1572702">
                <a:moveTo>
                  <a:pt x="0" y="1569168"/>
                </a:moveTo>
                <a:lnTo>
                  <a:pt x="2265873" y="0"/>
                </a:lnTo>
                <a:lnTo>
                  <a:pt x="4525452" y="1572702"/>
                </a:lnTo>
                <a:lnTo>
                  <a:pt x="0" y="1569168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1998EB54-0F58-441A-8144-1161535363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4257" y="3702319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BE0095B5-53D4-9C4C-8876-BE836797DEE0}"/>
              </a:ext>
            </a:extLst>
          </p:cNvPr>
          <p:cNvSpPr/>
          <p:nvPr/>
        </p:nvSpPr>
        <p:spPr>
          <a:xfrm rot="10800000">
            <a:off x="9083364" y="0"/>
            <a:ext cx="3108635" cy="1425182"/>
          </a:xfrm>
          <a:custGeom>
            <a:avLst/>
            <a:gdLst>
              <a:gd name="connsiteX0" fmla="*/ 3108635 w 3108635"/>
              <a:gd name="connsiteY0" fmla="*/ 1425182 h 1425182"/>
              <a:gd name="connsiteX1" fmla="*/ 0 w 3108635"/>
              <a:gd name="connsiteY1" fmla="*/ 1425182 h 1425182"/>
              <a:gd name="connsiteX2" fmla="*/ 0 w 3108635"/>
              <a:gd name="connsiteY2" fmla="*/ 730957 h 1425182"/>
              <a:gd name="connsiteX3" fmla="*/ 1084862 w 3108635"/>
              <a:gd name="connsiteY3" fmla="*/ 0 h 142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8635" h="1425182">
                <a:moveTo>
                  <a:pt x="3108635" y="1425182"/>
                </a:moveTo>
                <a:lnTo>
                  <a:pt x="0" y="1425182"/>
                </a:lnTo>
                <a:lnTo>
                  <a:pt x="0" y="730957"/>
                </a:lnTo>
                <a:lnTo>
                  <a:pt x="1084862" y="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5DEA3EB-7023-3642-83F2-FD716952AC57}"/>
              </a:ext>
            </a:extLst>
          </p:cNvPr>
          <p:cNvSpPr/>
          <p:nvPr/>
        </p:nvSpPr>
        <p:spPr>
          <a:xfrm rot="10800000">
            <a:off x="7899082" y="-1"/>
            <a:ext cx="2943008" cy="1021432"/>
          </a:xfrm>
          <a:custGeom>
            <a:avLst/>
            <a:gdLst>
              <a:gd name="connsiteX0" fmla="*/ 2943008 w 2943008"/>
              <a:gd name="connsiteY0" fmla="*/ 1021432 h 1021432"/>
              <a:gd name="connsiteX1" fmla="*/ 0 w 2943008"/>
              <a:gd name="connsiteY1" fmla="*/ 1021432 h 1021432"/>
              <a:gd name="connsiteX2" fmla="*/ 1473230 w 2943008"/>
              <a:gd name="connsiteY2" fmla="*/ 0 h 102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43008" h="1021432">
                <a:moveTo>
                  <a:pt x="2943008" y="1021432"/>
                </a:moveTo>
                <a:lnTo>
                  <a:pt x="0" y="1021432"/>
                </a:lnTo>
                <a:lnTo>
                  <a:pt x="1473230" y="0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solidFill>
                <a:schemeClr val="tx2"/>
              </a:solidFill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26A78AB9-EAF7-7746-895A-843233C622E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612FCD5A-D75B-4B19-A0CD-3722DB639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5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58EE7C1-72A7-49D2-9408-6D8A3E8979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E8E6F93-A670-4F14-B015-78190A57D00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161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0CC2C6EF-776C-43CF-B77C-3AD42BC255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4143" y="3702319"/>
            <a:ext cx="6843600" cy="381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Description goes her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noProof="0"/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507FF555-C362-BC4D-A8EA-21A034747FD9}"/>
              </a:ext>
            </a:extLst>
          </p:cNvPr>
          <p:cNvSpPr/>
          <p:nvPr/>
        </p:nvSpPr>
        <p:spPr>
          <a:xfrm rot="18300963" flipH="1">
            <a:off x="8503132" y="-1165064"/>
            <a:ext cx="495116" cy="4554815"/>
          </a:xfrm>
          <a:custGeom>
            <a:avLst/>
            <a:gdLst>
              <a:gd name="connsiteX0" fmla="*/ 484981 w 495116"/>
              <a:gd name="connsiteY0" fmla="*/ 0 h 4554815"/>
              <a:gd name="connsiteX1" fmla="*/ 43362 w 495116"/>
              <a:gd name="connsiteY1" fmla="*/ 630320 h 4554815"/>
              <a:gd name="connsiteX2" fmla="*/ 0 w 495116"/>
              <a:gd name="connsiteY2" fmla="*/ 4554815 h 4554815"/>
              <a:gd name="connsiteX3" fmla="*/ 484123 w 495116"/>
              <a:gd name="connsiteY3" fmla="*/ 4385194 h 4554815"/>
              <a:gd name="connsiteX4" fmla="*/ 495116 w 495116"/>
              <a:gd name="connsiteY4" fmla="*/ 3771414 h 4554815"/>
              <a:gd name="connsiteX5" fmla="*/ 466021 w 495116"/>
              <a:gd name="connsiteY5" fmla="*/ 3782827 h 4554815"/>
              <a:gd name="connsiteX6" fmla="*/ 482994 w 495116"/>
              <a:gd name="connsiteY6" fmla="*/ 370448 h 4554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116" h="4554815">
                <a:moveTo>
                  <a:pt x="484981" y="0"/>
                </a:moveTo>
                <a:lnTo>
                  <a:pt x="43362" y="630320"/>
                </a:lnTo>
                <a:lnTo>
                  <a:pt x="0" y="4554815"/>
                </a:lnTo>
                <a:lnTo>
                  <a:pt x="484123" y="4385194"/>
                </a:lnTo>
                <a:lnTo>
                  <a:pt x="495116" y="3771414"/>
                </a:lnTo>
                <a:lnTo>
                  <a:pt x="466021" y="3782827"/>
                </a:lnTo>
                <a:cubicBezTo>
                  <a:pt x="466280" y="2865719"/>
                  <a:pt x="476637" y="1476643"/>
                  <a:pt x="482994" y="370448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BA5EF075-83E7-774F-B885-37C07770ABA8}"/>
              </a:ext>
            </a:extLst>
          </p:cNvPr>
          <p:cNvSpPr/>
          <p:nvPr/>
        </p:nvSpPr>
        <p:spPr>
          <a:xfrm rot="18300963" flipH="1">
            <a:off x="4607641" y="3724836"/>
            <a:ext cx="1098431" cy="4553250"/>
          </a:xfrm>
          <a:custGeom>
            <a:avLst/>
            <a:gdLst>
              <a:gd name="connsiteX0" fmla="*/ 7678 w 1098431"/>
              <a:gd name="connsiteY0" fmla="*/ 354047 h 4553250"/>
              <a:gd name="connsiteX1" fmla="*/ 0 w 1098431"/>
              <a:gd name="connsiteY1" fmla="*/ 4553250 h 4553250"/>
              <a:gd name="connsiteX2" fmla="*/ 1098431 w 1098431"/>
              <a:gd name="connsiteY2" fmla="*/ 2985463 h 4553250"/>
              <a:gd name="connsiteX3" fmla="*/ 1098431 w 1098431"/>
              <a:gd name="connsiteY3" fmla="*/ 0 h 4553250"/>
              <a:gd name="connsiteX4" fmla="*/ 7678 w 1098431"/>
              <a:gd name="connsiteY4" fmla="*/ 354047 h 455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431" h="4553250">
                <a:moveTo>
                  <a:pt x="7678" y="354047"/>
                </a:moveTo>
                <a:lnTo>
                  <a:pt x="0" y="4553250"/>
                </a:lnTo>
                <a:lnTo>
                  <a:pt x="1098431" y="2985463"/>
                </a:lnTo>
                <a:lnTo>
                  <a:pt x="1098431" y="0"/>
                </a:lnTo>
                <a:cubicBezTo>
                  <a:pt x="734631" y="127326"/>
                  <a:pt x="371478" y="226721"/>
                  <a:pt x="7678" y="35404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0FDB5CF5-44C1-1D4A-A2B9-37C0F30F6278}"/>
              </a:ext>
            </a:extLst>
          </p:cNvPr>
          <p:cNvSpPr/>
          <p:nvPr/>
        </p:nvSpPr>
        <p:spPr>
          <a:xfrm rot="18300963" flipH="1">
            <a:off x="4473394" y="5471677"/>
            <a:ext cx="227425" cy="1880095"/>
          </a:xfrm>
          <a:custGeom>
            <a:avLst/>
            <a:gdLst>
              <a:gd name="connsiteX0" fmla="*/ 0 w 227425"/>
              <a:gd name="connsiteY0" fmla="*/ 96845 h 1880095"/>
              <a:gd name="connsiteX1" fmla="*/ 0 w 227425"/>
              <a:gd name="connsiteY1" fmla="*/ 1880095 h 1880095"/>
              <a:gd name="connsiteX2" fmla="*/ 224453 w 227425"/>
              <a:gd name="connsiteY2" fmla="*/ 1559734 h 1880095"/>
              <a:gd name="connsiteX3" fmla="*/ 225257 w 227425"/>
              <a:gd name="connsiteY3" fmla="*/ 1214869 h 1880095"/>
              <a:gd name="connsiteX4" fmla="*/ 227425 w 227425"/>
              <a:gd name="connsiteY4" fmla="*/ 0 h 1880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425" h="1880095">
                <a:moveTo>
                  <a:pt x="0" y="96845"/>
                </a:moveTo>
                <a:lnTo>
                  <a:pt x="0" y="1880095"/>
                </a:lnTo>
                <a:lnTo>
                  <a:pt x="224453" y="1559734"/>
                </a:lnTo>
                <a:lnTo>
                  <a:pt x="225257" y="1214869"/>
                </a:lnTo>
                <a:cubicBezTo>
                  <a:pt x="225980" y="809913"/>
                  <a:pt x="226237" y="390570"/>
                  <a:pt x="22742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5" name="Freeform 34">
            <a:extLst>
              <a:ext uri="{FF2B5EF4-FFF2-40B4-BE49-F238E27FC236}">
                <a16:creationId xmlns:a16="http://schemas.microsoft.com/office/drawing/2014/main" id="{4D8B62A9-4796-7441-BB51-FE9050BD3210}"/>
              </a:ext>
            </a:extLst>
          </p:cNvPr>
          <p:cNvSpPr/>
          <p:nvPr/>
        </p:nvSpPr>
        <p:spPr>
          <a:xfrm rot="18300963" flipH="1">
            <a:off x="6797834" y="-1592612"/>
            <a:ext cx="1110167" cy="5340305"/>
          </a:xfrm>
          <a:custGeom>
            <a:avLst/>
            <a:gdLst>
              <a:gd name="connsiteX0" fmla="*/ 1110167 w 1110167"/>
              <a:gd name="connsiteY0" fmla="*/ 0 h 5340305"/>
              <a:gd name="connsiteX1" fmla="*/ 18977 w 1110167"/>
              <a:gd name="connsiteY1" fmla="*/ 1557452 h 5340305"/>
              <a:gd name="connsiteX2" fmla="*/ 18186 w 1110167"/>
              <a:gd name="connsiteY2" fmla="*/ 1710683 h 5340305"/>
              <a:gd name="connsiteX3" fmla="*/ 0 w 1110167"/>
              <a:gd name="connsiteY3" fmla="*/ 5340305 h 5340305"/>
              <a:gd name="connsiteX4" fmla="*/ 1096070 w 1110167"/>
              <a:gd name="connsiteY4" fmla="*/ 4910334 h 5340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0167" h="5340305">
                <a:moveTo>
                  <a:pt x="1110167" y="0"/>
                </a:moveTo>
                <a:lnTo>
                  <a:pt x="18977" y="1557452"/>
                </a:lnTo>
                <a:lnTo>
                  <a:pt x="18186" y="1710683"/>
                </a:lnTo>
                <a:cubicBezTo>
                  <a:pt x="12041" y="2846813"/>
                  <a:pt x="276" y="4362057"/>
                  <a:pt x="0" y="5340305"/>
                </a:cubicBezTo>
                <a:lnTo>
                  <a:pt x="1096070" y="4910334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E2CC5BE5-129B-7847-BDB4-75DA3D4EA79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970D0B5-60C7-43B7-9391-F41A7E9C2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>
              <a:defRPr lang="en-GB" sz="4000" dirty="0">
                <a:solidFill>
                  <a:schemeClr val="tx2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 noProof="0"/>
              <a:t>Slide divider option-6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6AB6562-E57C-4D04-BCF6-D759D38486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0111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B91F8A20-C584-48B2-B8D0-5A7792E52E41}"/>
              </a:ext>
            </a:extLst>
          </p:cNvPr>
          <p:cNvSpPr/>
          <p:nvPr userDrawn="1"/>
        </p:nvSpPr>
        <p:spPr>
          <a:xfrm flipV="1">
            <a:off x="6766830" y="1"/>
            <a:ext cx="5425171" cy="3771437"/>
          </a:xfrm>
          <a:custGeom>
            <a:avLst/>
            <a:gdLst>
              <a:gd name="connsiteX0" fmla="*/ 0 w 5425171"/>
              <a:gd name="connsiteY0" fmla="*/ 3771437 h 3771437"/>
              <a:gd name="connsiteX1" fmla="*/ 5425171 w 5425171"/>
              <a:gd name="connsiteY1" fmla="*/ 3771437 h 3771437"/>
              <a:gd name="connsiteX2" fmla="*/ 5425171 w 5425171"/>
              <a:gd name="connsiteY2" fmla="*/ 0 h 3771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25171" h="3771437">
                <a:moveTo>
                  <a:pt x="0" y="3771437"/>
                </a:moveTo>
                <a:lnTo>
                  <a:pt x="5425171" y="3771437"/>
                </a:lnTo>
                <a:lnTo>
                  <a:pt x="5425171" y="0"/>
                </a:lnTo>
                <a:close/>
              </a:path>
            </a:pathLst>
          </a:custGeom>
          <a:solidFill>
            <a:schemeClr val="accent1"/>
          </a:solidFill>
          <a:ln w="15691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BC369F7-26ED-4748-B416-400F4315F894}"/>
              </a:ext>
            </a:extLst>
          </p:cNvPr>
          <p:cNvSpPr/>
          <p:nvPr userDrawn="1"/>
        </p:nvSpPr>
        <p:spPr>
          <a:xfrm rot="18300963" flipH="1">
            <a:off x="7568200" y="-802590"/>
            <a:ext cx="418585" cy="2961934"/>
          </a:xfrm>
          <a:custGeom>
            <a:avLst/>
            <a:gdLst>
              <a:gd name="connsiteX0" fmla="*/ 418585 w 418585"/>
              <a:gd name="connsiteY0" fmla="*/ 0 h 2961934"/>
              <a:gd name="connsiteX1" fmla="*/ 0 w 418585"/>
              <a:gd name="connsiteY1" fmla="*/ 597446 h 2961934"/>
              <a:gd name="connsiteX2" fmla="*/ 0 w 418585"/>
              <a:gd name="connsiteY2" fmla="*/ 2961934 h 2961934"/>
              <a:gd name="connsiteX3" fmla="*/ 418585 w 418585"/>
              <a:gd name="connsiteY3" fmla="*/ 2808101 h 296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585" h="2961934">
                <a:moveTo>
                  <a:pt x="418585" y="0"/>
                </a:moveTo>
                <a:lnTo>
                  <a:pt x="0" y="597446"/>
                </a:lnTo>
                <a:lnTo>
                  <a:pt x="0" y="2961934"/>
                </a:lnTo>
                <a:lnTo>
                  <a:pt x="418585" y="2808101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5868000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tabLst>
                <a:tab pos="447675" algn="l"/>
              </a:tabLst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73F4034-F802-8147-9CE9-2FDF5990DA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68000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4C88BC3-87FF-4DEA-A390-196F279DE9AD}"/>
              </a:ext>
            </a:extLst>
          </p:cNvPr>
          <p:cNvGrpSpPr/>
          <p:nvPr userDrawn="1"/>
        </p:nvGrpSpPr>
        <p:grpSpPr>
          <a:xfrm>
            <a:off x="5715188" y="0"/>
            <a:ext cx="6476813" cy="4013359"/>
            <a:chOff x="5715188" y="0"/>
            <a:chExt cx="6476813" cy="4013359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CE5EE67-8B21-4F87-8DFB-90B271741602}"/>
                </a:ext>
              </a:extLst>
            </p:cNvPr>
            <p:cNvSpPr/>
            <p:nvPr/>
          </p:nvSpPr>
          <p:spPr>
            <a:xfrm>
              <a:off x="12010873" y="2481044"/>
              <a:ext cx="181127" cy="594412"/>
            </a:xfrm>
            <a:custGeom>
              <a:avLst/>
              <a:gdLst>
                <a:gd name="connsiteX0" fmla="*/ 0 w 181127"/>
                <a:gd name="connsiteY0" fmla="*/ 0 h 594412"/>
                <a:gd name="connsiteX1" fmla="*/ 167647 w 181127"/>
                <a:gd name="connsiteY1" fmla="*/ 116845 h 594412"/>
                <a:gd name="connsiteX2" fmla="*/ 167647 w 181127"/>
                <a:gd name="connsiteY2" fmla="*/ 351169 h 594412"/>
                <a:gd name="connsiteX3" fmla="*/ 181127 w 181127"/>
                <a:gd name="connsiteY3" fmla="*/ 360544 h 594412"/>
                <a:gd name="connsiteX4" fmla="*/ 181127 w 181127"/>
                <a:gd name="connsiteY4" fmla="*/ 594412 h 594412"/>
                <a:gd name="connsiteX5" fmla="*/ 0 w 181127"/>
                <a:gd name="connsiteY5" fmla="*/ 468649 h 594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127" h="594412">
                  <a:moveTo>
                    <a:pt x="0" y="0"/>
                  </a:moveTo>
                  <a:lnTo>
                    <a:pt x="167647" y="116845"/>
                  </a:lnTo>
                  <a:lnTo>
                    <a:pt x="167647" y="351169"/>
                  </a:lnTo>
                  <a:lnTo>
                    <a:pt x="181127" y="360544"/>
                  </a:lnTo>
                  <a:lnTo>
                    <a:pt x="181127" y="594412"/>
                  </a:lnTo>
                  <a:lnTo>
                    <a:pt x="0" y="46864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3080386-6680-4E93-BCAF-5CB175921301}"/>
                </a:ext>
              </a:extLst>
            </p:cNvPr>
            <p:cNvSpPr/>
            <p:nvPr/>
          </p:nvSpPr>
          <p:spPr>
            <a:xfrm>
              <a:off x="6565492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9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9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DDE16F9-C07D-4FEE-A6FA-A182F541F37F}"/>
                </a:ext>
              </a:extLst>
            </p:cNvPr>
            <p:cNvSpPr/>
            <p:nvPr userDrawn="1"/>
          </p:nvSpPr>
          <p:spPr>
            <a:xfrm>
              <a:off x="7246244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9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9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ED9A046-D24A-4E78-8501-42C19EA55EBA}"/>
                </a:ext>
              </a:extLst>
            </p:cNvPr>
            <p:cNvSpPr/>
            <p:nvPr userDrawn="1"/>
          </p:nvSpPr>
          <p:spPr>
            <a:xfrm>
              <a:off x="7926996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9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9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E60FD82-2BBC-408C-B3E9-46545477070B}"/>
                </a:ext>
              </a:extLst>
            </p:cNvPr>
            <p:cNvSpPr/>
            <p:nvPr/>
          </p:nvSpPr>
          <p:spPr>
            <a:xfrm>
              <a:off x="8607748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8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8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151714C-A962-44D7-8717-DBB0CAD4FB3C}"/>
                </a:ext>
              </a:extLst>
            </p:cNvPr>
            <p:cNvSpPr/>
            <p:nvPr/>
          </p:nvSpPr>
          <p:spPr>
            <a:xfrm>
              <a:off x="9288499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8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8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3221CAB-ED2A-48D3-9F40-870064BDA5BB}"/>
                </a:ext>
              </a:extLst>
            </p:cNvPr>
            <p:cNvSpPr/>
            <p:nvPr/>
          </p:nvSpPr>
          <p:spPr>
            <a:xfrm>
              <a:off x="9968617" y="1"/>
              <a:ext cx="337201" cy="344819"/>
            </a:xfrm>
            <a:custGeom>
              <a:avLst/>
              <a:gdLst>
                <a:gd name="connsiteX0" fmla="*/ 0 w 337201"/>
                <a:gd name="connsiteY0" fmla="*/ 0 h 344819"/>
                <a:gd name="connsiteX1" fmla="*/ 177413 w 337201"/>
                <a:gd name="connsiteY1" fmla="*/ 0 h 344819"/>
                <a:gd name="connsiteX2" fmla="*/ 337201 w 337201"/>
                <a:gd name="connsiteY2" fmla="*/ 111130 h 344819"/>
                <a:gd name="connsiteX3" fmla="*/ 337201 w 337201"/>
                <a:gd name="connsiteY3" fmla="*/ 344819 h 344819"/>
                <a:gd name="connsiteX4" fmla="*/ 0 w 337201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201" h="344819">
                  <a:moveTo>
                    <a:pt x="0" y="0"/>
                  </a:moveTo>
                  <a:lnTo>
                    <a:pt x="177413" y="0"/>
                  </a:lnTo>
                  <a:lnTo>
                    <a:pt x="337201" y="111130"/>
                  </a:lnTo>
                  <a:lnTo>
                    <a:pt x="337201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9CE638EA-11C9-4B89-AB99-E00CA5E130BD}"/>
                </a:ext>
              </a:extLst>
            </p:cNvPr>
            <p:cNvSpPr/>
            <p:nvPr/>
          </p:nvSpPr>
          <p:spPr>
            <a:xfrm>
              <a:off x="10649369" y="1"/>
              <a:ext cx="337201" cy="344819"/>
            </a:xfrm>
            <a:custGeom>
              <a:avLst/>
              <a:gdLst>
                <a:gd name="connsiteX0" fmla="*/ 0 w 337201"/>
                <a:gd name="connsiteY0" fmla="*/ 0 h 344819"/>
                <a:gd name="connsiteX1" fmla="*/ 177413 w 337201"/>
                <a:gd name="connsiteY1" fmla="*/ 0 h 344819"/>
                <a:gd name="connsiteX2" fmla="*/ 337201 w 337201"/>
                <a:gd name="connsiteY2" fmla="*/ 111130 h 344819"/>
                <a:gd name="connsiteX3" fmla="*/ 337201 w 337201"/>
                <a:gd name="connsiteY3" fmla="*/ 344819 h 344819"/>
                <a:gd name="connsiteX4" fmla="*/ 0 w 337201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201" h="344819">
                  <a:moveTo>
                    <a:pt x="0" y="0"/>
                  </a:moveTo>
                  <a:lnTo>
                    <a:pt x="177413" y="0"/>
                  </a:lnTo>
                  <a:lnTo>
                    <a:pt x="337201" y="111130"/>
                  </a:lnTo>
                  <a:lnTo>
                    <a:pt x="337201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6F13C4BA-3024-4FB0-9B6B-47A5B558035A}"/>
                </a:ext>
              </a:extLst>
            </p:cNvPr>
            <p:cNvSpPr/>
            <p:nvPr/>
          </p:nvSpPr>
          <p:spPr>
            <a:xfrm>
              <a:off x="11330120" y="1"/>
              <a:ext cx="336566" cy="344819"/>
            </a:xfrm>
            <a:custGeom>
              <a:avLst/>
              <a:gdLst>
                <a:gd name="connsiteX0" fmla="*/ 0 w 336566"/>
                <a:gd name="connsiteY0" fmla="*/ 0 h 344819"/>
                <a:gd name="connsiteX1" fmla="*/ 176778 w 336566"/>
                <a:gd name="connsiteY1" fmla="*/ 0 h 344819"/>
                <a:gd name="connsiteX2" fmla="*/ 336566 w 336566"/>
                <a:gd name="connsiteY2" fmla="*/ 111130 h 344819"/>
                <a:gd name="connsiteX3" fmla="*/ 336566 w 336566"/>
                <a:gd name="connsiteY3" fmla="*/ 344819 h 344819"/>
                <a:gd name="connsiteX4" fmla="*/ 0 w 336566"/>
                <a:gd name="connsiteY4" fmla="*/ 111130 h 34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19">
                  <a:moveTo>
                    <a:pt x="0" y="0"/>
                  </a:moveTo>
                  <a:lnTo>
                    <a:pt x="176778" y="0"/>
                  </a:lnTo>
                  <a:lnTo>
                    <a:pt x="336566" y="111130"/>
                  </a:lnTo>
                  <a:lnTo>
                    <a:pt x="336566" y="344819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36FBC37-DF57-46B8-9978-E944E3AA9B6A}"/>
                </a:ext>
              </a:extLst>
            </p:cNvPr>
            <p:cNvSpPr/>
            <p:nvPr/>
          </p:nvSpPr>
          <p:spPr>
            <a:xfrm>
              <a:off x="12010872" y="1"/>
              <a:ext cx="181128" cy="236893"/>
            </a:xfrm>
            <a:custGeom>
              <a:avLst/>
              <a:gdLst>
                <a:gd name="connsiteX0" fmla="*/ 0 w 181128"/>
                <a:gd name="connsiteY0" fmla="*/ 0 h 236893"/>
                <a:gd name="connsiteX1" fmla="*/ 176777 w 181128"/>
                <a:gd name="connsiteY1" fmla="*/ 0 h 236893"/>
                <a:gd name="connsiteX2" fmla="*/ 181128 w 181128"/>
                <a:gd name="connsiteY2" fmla="*/ 3026 h 236893"/>
                <a:gd name="connsiteX3" fmla="*/ 181128 w 181128"/>
                <a:gd name="connsiteY3" fmla="*/ 236893 h 236893"/>
                <a:gd name="connsiteX4" fmla="*/ 0 w 181128"/>
                <a:gd name="connsiteY4" fmla="*/ 111130 h 236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128" h="236893">
                  <a:moveTo>
                    <a:pt x="0" y="0"/>
                  </a:moveTo>
                  <a:lnTo>
                    <a:pt x="176777" y="0"/>
                  </a:lnTo>
                  <a:lnTo>
                    <a:pt x="181128" y="3026"/>
                  </a:lnTo>
                  <a:lnTo>
                    <a:pt x="181128" y="236893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C764A050-800F-4349-8A14-A6F0F97184CD}"/>
                </a:ext>
              </a:extLst>
            </p:cNvPr>
            <p:cNvSpPr/>
            <p:nvPr/>
          </p:nvSpPr>
          <p:spPr>
            <a:xfrm>
              <a:off x="12010873" y="1061762"/>
              <a:ext cx="181127" cy="594412"/>
            </a:xfrm>
            <a:custGeom>
              <a:avLst/>
              <a:gdLst>
                <a:gd name="connsiteX0" fmla="*/ 0 w 181127"/>
                <a:gd name="connsiteY0" fmla="*/ 0 h 594412"/>
                <a:gd name="connsiteX1" fmla="*/ 167647 w 181127"/>
                <a:gd name="connsiteY1" fmla="*/ 116845 h 594412"/>
                <a:gd name="connsiteX2" fmla="*/ 167647 w 181127"/>
                <a:gd name="connsiteY2" fmla="*/ 351169 h 594412"/>
                <a:gd name="connsiteX3" fmla="*/ 181127 w 181127"/>
                <a:gd name="connsiteY3" fmla="*/ 360544 h 594412"/>
                <a:gd name="connsiteX4" fmla="*/ 181127 w 181127"/>
                <a:gd name="connsiteY4" fmla="*/ 594412 h 594412"/>
                <a:gd name="connsiteX5" fmla="*/ 0 w 181127"/>
                <a:gd name="connsiteY5" fmla="*/ 468649 h 594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1127" h="594412">
                  <a:moveTo>
                    <a:pt x="0" y="0"/>
                  </a:moveTo>
                  <a:lnTo>
                    <a:pt x="167647" y="116845"/>
                  </a:lnTo>
                  <a:lnTo>
                    <a:pt x="167647" y="351169"/>
                  </a:lnTo>
                  <a:lnTo>
                    <a:pt x="181127" y="360544"/>
                  </a:lnTo>
                  <a:lnTo>
                    <a:pt x="181127" y="594412"/>
                  </a:lnTo>
                  <a:lnTo>
                    <a:pt x="0" y="46864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46F198D-5084-48A9-8C84-7DB2CEC8A4EC}"/>
                </a:ext>
              </a:extLst>
            </p:cNvPr>
            <p:cNvSpPr/>
            <p:nvPr/>
          </p:nvSpPr>
          <p:spPr>
            <a:xfrm>
              <a:off x="11841955" y="1771720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D89682F6-96A5-41BF-82A7-8041CD27DFCA}"/>
                </a:ext>
              </a:extLst>
            </p:cNvPr>
            <p:cNvSpPr/>
            <p:nvPr/>
          </p:nvSpPr>
          <p:spPr>
            <a:xfrm>
              <a:off x="11671767" y="1533586"/>
              <a:ext cx="520233" cy="351169"/>
            </a:xfrm>
            <a:custGeom>
              <a:avLst/>
              <a:gdLst>
                <a:gd name="connsiteX0" fmla="*/ 337201 w 520233"/>
                <a:gd name="connsiteY0" fmla="*/ 0 h 351169"/>
                <a:gd name="connsiteX1" fmla="*/ 520233 w 520233"/>
                <a:gd name="connsiteY1" fmla="*/ 127191 h 351169"/>
                <a:gd name="connsiteX2" fmla="*/ 520233 w 520233"/>
                <a:gd name="connsiteY2" fmla="*/ 341190 h 351169"/>
                <a:gd name="connsiteX3" fmla="*/ 506753 w 520233"/>
                <a:gd name="connsiteY3" fmla="*/ 350534 h 351169"/>
                <a:gd name="connsiteX4" fmla="*/ 338470 w 520233"/>
                <a:gd name="connsiteY4" fmla="*/ 234324 h 351169"/>
                <a:gd name="connsiteX5" fmla="*/ 337201 w 520233"/>
                <a:gd name="connsiteY5" fmla="*/ 233689 h 351169"/>
                <a:gd name="connsiteX6" fmla="*/ 168283 w 520233"/>
                <a:gd name="connsiteY6" fmla="*/ 351169 h 351169"/>
                <a:gd name="connsiteX7" fmla="*/ 0 w 520233"/>
                <a:gd name="connsiteY7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0233" h="351169">
                  <a:moveTo>
                    <a:pt x="337201" y="0"/>
                  </a:moveTo>
                  <a:lnTo>
                    <a:pt x="520233" y="127191"/>
                  </a:lnTo>
                  <a:lnTo>
                    <a:pt x="520233" y="341190"/>
                  </a:lnTo>
                  <a:lnTo>
                    <a:pt x="506753" y="350534"/>
                  </a:lnTo>
                  <a:lnTo>
                    <a:pt x="338470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0C05325F-FB04-4D3F-81DA-A8A1958800B0}"/>
                </a:ext>
              </a:extLst>
            </p:cNvPr>
            <p:cNvSpPr/>
            <p:nvPr/>
          </p:nvSpPr>
          <p:spPr>
            <a:xfrm>
              <a:off x="11670497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CEAF07ED-FD46-4A60-A12C-6191D530088B}"/>
                </a:ext>
              </a:extLst>
            </p:cNvPr>
            <p:cNvSpPr/>
            <p:nvPr/>
          </p:nvSpPr>
          <p:spPr>
            <a:xfrm>
              <a:off x="6225117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647D2024-98F1-4BD4-B343-DAD63E339990}"/>
                </a:ext>
              </a:extLst>
            </p:cNvPr>
            <p:cNvSpPr/>
            <p:nvPr/>
          </p:nvSpPr>
          <p:spPr>
            <a:xfrm>
              <a:off x="6905869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E4F5D25-29A7-44F3-8A09-0B85AB758663}"/>
                </a:ext>
              </a:extLst>
            </p:cNvPr>
            <p:cNvSpPr/>
            <p:nvPr/>
          </p:nvSpPr>
          <p:spPr>
            <a:xfrm>
              <a:off x="7586621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AE80838-AA85-408D-A5A3-57703C8D7194}"/>
                </a:ext>
              </a:extLst>
            </p:cNvPr>
            <p:cNvSpPr/>
            <p:nvPr/>
          </p:nvSpPr>
          <p:spPr>
            <a:xfrm>
              <a:off x="8267372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FD0A565E-C13F-4E69-81C4-EF204B972380}"/>
                </a:ext>
              </a:extLst>
            </p:cNvPr>
            <p:cNvSpPr/>
            <p:nvPr/>
          </p:nvSpPr>
          <p:spPr>
            <a:xfrm>
              <a:off x="8948124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59F79212-CAEE-4FFE-B3AB-0F52E40D66A7}"/>
                </a:ext>
              </a:extLst>
            </p:cNvPr>
            <p:cNvSpPr/>
            <p:nvPr/>
          </p:nvSpPr>
          <p:spPr>
            <a:xfrm>
              <a:off x="9628876" y="352439"/>
              <a:ext cx="336565" cy="702338"/>
            </a:xfrm>
            <a:custGeom>
              <a:avLst/>
              <a:gdLst>
                <a:gd name="connsiteX0" fmla="*/ 167648 w 336565"/>
                <a:gd name="connsiteY0" fmla="*/ 116210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014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210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00B462F9-1955-491B-A597-8C3AB0118874}"/>
                </a:ext>
              </a:extLst>
            </p:cNvPr>
            <p:cNvSpPr/>
            <p:nvPr/>
          </p:nvSpPr>
          <p:spPr>
            <a:xfrm>
              <a:off x="10308993" y="352439"/>
              <a:ext cx="337201" cy="702338"/>
            </a:xfrm>
            <a:custGeom>
              <a:avLst/>
              <a:gdLst>
                <a:gd name="connsiteX0" fmla="*/ 168283 w 337201"/>
                <a:gd name="connsiteY0" fmla="*/ 116210 h 702338"/>
                <a:gd name="connsiteX1" fmla="*/ 168283 w 337201"/>
                <a:gd name="connsiteY1" fmla="*/ 351169 h 702338"/>
                <a:gd name="connsiteX2" fmla="*/ 337201 w 337201"/>
                <a:gd name="connsiteY2" fmla="*/ 468649 h 702338"/>
                <a:gd name="connsiteX3" fmla="*/ 337201 w 337201"/>
                <a:gd name="connsiteY3" fmla="*/ 702338 h 702338"/>
                <a:gd name="connsiteX4" fmla="*/ 0 w 337201"/>
                <a:gd name="connsiteY4" fmla="*/ 468014 h 702338"/>
                <a:gd name="connsiteX5" fmla="*/ 0 w 337201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1" h="702338">
                  <a:moveTo>
                    <a:pt x="168283" y="116210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D846CD6-9740-4A70-9C92-C1EF15D475DB}"/>
                </a:ext>
              </a:extLst>
            </p:cNvPr>
            <p:cNvSpPr/>
            <p:nvPr/>
          </p:nvSpPr>
          <p:spPr>
            <a:xfrm>
              <a:off x="10989745" y="352439"/>
              <a:ext cx="337200" cy="702338"/>
            </a:xfrm>
            <a:custGeom>
              <a:avLst/>
              <a:gdLst>
                <a:gd name="connsiteX0" fmla="*/ 168283 w 337200"/>
                <a:gd name="connsiteY0" fmla="*/ 116210 h 702338"/>
                <a:gd name="connsiteX1" fmla="*/ 168283 w 337200"/>
                <a:gd name="connsiteY1" fmla="*/ 351169 h 702338"/>
                <a:gd name="connsiteX2" fmla="*/ 337201 w 337200"/>
                <a:gd name="connsiteY2" fmla="*/ 468649 h 702338"/>
                <a:gd name="connsiteX3" fmla="*/ 337201 w 337200"/>
                <a:gd name="connsiteY3" fmla="*/ 702338 h 702338"/>
                <a:gd name="connsiteX4" fmla="*/ 0 w 337200"/>
                <a:gd name="connsiteY4" fmla="*/ 468014 h 702338"/>
                <a:gd name="connsiteX5" fmla="*/ 0 w 337200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168283" y="116210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1E6B00F-6E1D-4F08-A671-8F4ED750732A}"/>
                </a:ext>
              </a:extLst>
            </p:cNvPr>
            <p:cNvSpPr/>
            <p:nvPr/>
          </p:nvSpPr>
          <p:spPr>
            <a:xfrm>
              <a:off x="11670497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A6F2F23-1DBB-414D-88DC-583BB6E462CF}"/>
                </a:ext>
              </a:extLst>
            </p:cNvPr>
            <p:cNvSpPr/>
            <p:nvPr/>
          </p:nvSpPr>
          <p:spPr>
            <a:xfrm>
              <a:off x="11330121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4309412-4EAB-4705-8A4C-685D6C093D86}"/>
                </a:ext>
              </a:extLst>
            </p:cNvPr>
            <p:cNvSpPr/>
            <p:nvPr/>
          </p:nvSpPr>
          <p:spPr>
            <a:xfrm>
              <a:off x="11330121" y="2481044"/>
              <a:ext cx="336565" cy="702337"/>
            </a:xfrm>
            <a:custGeom>
              <a:avLst/>
              <a:gdLst>
                <a:gd name="connsiteX0" fmla="*/ 336566 w 336565"/>
                <a:gd name="connsiteY0" fmla="*/ 468649 h 702337"/>
                <a:gd name="connsiteX1" fmla="*/ 336566 w 336565"/>
                <a:gd name="connsiteY1" fmla="*/ 702338 h 702337"/>
                <a:gd name="connsiteX2" fmla="*/ 0 w 336565"/>
                <a:gd name="connsiteY2" fmla="*/ 468649 h 702337"/>
                <a:gd name="connsiteX3" fmla="*/ 0 w 336565"/>
                <a:gd name="connsiteY3" fmla="*/ 0 h 702337"/>
                <a:gd name="connsiteX4" fmla="*/ 167648 w 336565"/>
                <a:gd name="connsiteY4" fmla="*/ 116845 h 702337"/>
                <a:gd name="connsiteX5" fmla="*/ 167648 w 336565"/>
                <a:gd name="connsiteY5" fmla="*/ 351169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336566" y="468649"/>
                  </a:move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lnTo>
                    <a:pt x="167648" y="116845"/>
                  </a:lnTo>
                  <a:lnTo>
                    <a:pt x="167648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9C0B2DBC-C430-4A19-B026-9FA6F7202E01}"/>
                </a:ext>
              </a:extLst>
            </p:cNvPr>
            <p:cNvSpPr/>
            <p:nvPr/>
          </p:nvSpPr>
          <p:spPr>
            <a:xfrm>
              <a:off x="11670497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83167BB9-46CD-4709-911A-D1C7A6754A91}"/>
                </a:ext>
              </a:extLst>
            </p:cNvPr>
            <p:cNvSpPr/>
            <p:nvPr/>
          </p:nvSpPr>
          <p:spPr>
            <a:xfrm>
              <a:off x="11330121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D647D22-9C60-44B8-9D3F-BBE643FADD9F}"/>
                </a:ext>
              </a:extLst>
            </p:cNvPr>
            <p:cNvSpPr/>
            <p:nvPr/>
          </p:nvSpPr>
          <p:spPr>
            <a:xfrm>
              <a:off x="5884741" y="588668"/>
              <a:ext cx="164472" cy="227974"/>
            </a:xfrm>
            <a:custGeom>
              <a:avLst/>
              <a:gdLst>
                <a:gd name="connsiteX0" fmla="*/ 164473 w 164472"/>
                <a:gd name="connsiteY0" fmla="*/ 114305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6D8CE189-30C4-4911-B40F-1FC72E907B5B}"/>
                </a:ext>
              </a:extLst>
            </p:cNvPr>
            <p:cNvSpPr/>
            <p:nvPr/>
          </p:nvSpPr>
          <p:spPr>
            <a:xfrm>
              <a:off x="5886011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2 w 674401"/>
                <a:gd name="connsiteY1" fmla="*/ 233689 h 351169"/>
                <a:gd name="connsiteX2" fmla="*/ 506754 w 674401"/>
                <a:gd name="connsiteY2" fmla="*/ 350534 h 351169"/>
                <a:gd name="connsiteX3" fmla="*/ 338471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2" y="233689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C4FBE59-F683-4E27-8E31-9228C4F0291C}"/>
                </a:ext>
              </a:extLst>
            </p:cNvPr>
            <p:cNvSpPr/>
            <p:nvPr/>
          </p:nvSpPr>
          <p:spPr>
            <a:xfrm>
              <a:off x="6565493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D519D4CC-4667-4937-AC8A-C1BE2B8F60F3}"/>
                </a:ext>
              </a:extLst>
            </p:cNvPr>
            <p:cNvSpPr/>
            <p:nvPr/>
          </p:nvSpPr>
          <p:spPr>
            <a:xfrm>
              <a:off x="6566763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2 w 674401"/>
                <a:gd name="connsiteY1" fmla="*/ 233689 h 351169"/>
                <a:gd name="connsiteX2" fmla="*/ 506754 w 674401"/>
                <a:gd name="connsiteY2" fmla="*/ 350534 h 351169"/>
                <a:gd name="connsiteX3" fmla="*/ 338471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2" y="233689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3636842B-DCE3-4F08-85A2-DADA9D687C33}"/>
                </a:ext>
              </a:extLst>
            </p:cNvPr>
            <p:cNvSpPr/>
            <p:nvPr/>
          </p:nvSpPr>
          <p:spPr>
            <a:xfrm>
              <a:off x="7246245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3DA9BF26-63B9-4D35-9BBD-838100622B0D}"/>
                </a:ext>
              </a:extLst>
            </p:cNvPr>
            <p:cNvSpPr/>
            <p:nvPr/>
          </p:nvSpPr>
          <p:spPr>
            <a:xfrm>
              <a:off x="7247515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2 w 674401"/>
                <a:gd name="connsiteY1" fmla="*/ 233689 h 351169"/>
                <a:gd name="connsiteX2" fmla="*/ 506754 w 674401"/>
                <a:gd name="connsiteY2" fmla="*/ 350534 h 351169"/>
                <a:gd name="connsiteX3" fmla="*/ 337836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2" y="233689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3E6731B1-220D-481E-88A1-E81C15364115}"/>
                </a:ext>
              </a:extLst>
            </p:cNvPr>
            <p:cNvSpPr/>
            <p:nvPr/>
          </p:nvSpPr>
          <p:spPr>
            <a:xfrm>
              <a:off x="7926997" y="588668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B67BA01E-07D3-4CE3-8B5C-A032BAEA7BFD}"/>
                </a:ext>
              </a:extLst>
            </p:cNvPr>
            <p:cNvSpPr/>
            <p:nvPr/>
          </p:nvSpPr>
          <p:spPr>
            <a:xfrm>
              <a:off x="7928267" y="824262"/>
              <a:ext cx="674401" cy="351169"/>
            </a:xfrm>
            <a:custGeom>
              <a:avLst/>
              <a:gdLst>
                <a:gd name="connsiteX0" fmla="*/ 337201 w 674401"/>
                <a:gd name="connsiteY0" fmla="*/ 0 h 351169"/>
                <a:gd name="connsiteX1" fmla="*/ 674401 w 674401"/>
                <a:gd name="connsiteY1" fmla="*/ 233689 h 351169"/>
                <a:gd name="connsiteX2" fmla="*/ 506754 w 674401"/>
                <a:gd name="connsiteY2" fmla="*/ 350534 h 351169"/>
                <a:gd name="connsiteX3" fmla="*/ 337836 w 674401"/>
                <a:gd name="connsiteY3" fmla="*/ 234324 h 351169"/>
                <a:gd name="connsiteX4" fmla="*/ 337201 w 674401"/>
                <a:gd name="connsiteY4" fmla="*/ 233689 h 351169"/>
                <a:gd name="connsiteX5" fmla="*/ 168283 w 674401"/>
                <a:gd name="connsiteY5" fmla="*/ 351169 h 351169"/>
                <a:gd name="connsiteX6" fmla="*/ 0 w 674401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7201" y="0"/>
                  </a:moveTo>
                  <a:lnTo>
                    <a:pt x="674401" y="233689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6F9CA08F-42C7-4CFD-9F37-C10337C2F2AE}"/>
                </a:ext>
              </a:extLst>
            </p:cNvPr>
            <p:cNvSpPr/>
            <p:nvPr/>
          </p:nvSpPr>
          <p:spPr>
            <a:xfrm>
              <a:off x="8607749" y="588668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2BE5FE9D-21F9-4C4C-85BB-EEB31817DFC9}"/>
                </a:ext>
              </a:extLst>
            </p:cNvPr>
            <p:cNvSpPr/>
            <p:nvPr/>
          </p:nvSpPr>
          <p:spPr>
            <a:xfrm>
              <a:off x="8609018" y="824262"/>
              <a:ext cx="673766" cy="351169"/>
            </a:xfrm>
            <a:custGeom>
              <a:avLst/>
              <a:gdLst>
                <a:gd name="connsiteX0" fmla="*/ 337201 w 673766"/>
                <a:gd name="connsiteY0" fmla="*/ 0 h 351169"/>
                <a:gd name="connsiteX1" fmla="*/ 673767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7201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7201" y="0"/>
                  </a:moveTo>
                  <a:lnTo>
                    <a:pt x="673767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18E07B5-5A05-46CF-AF1E-74FB011B05C1}"/>
                </a:ext>
              </a:extLst>
            </p:cNvPr>
            <p:cNvSpPr/>
            <p:nvPr/>
          </p:nvSpPr>
          <p:spPr>
            <a:xfrm>
              <a:off x="9288500" y="588668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305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0B77125-FE0A-4BB8-AA32-C0C760E202CF}"/>
                </a:ext>
              </a:extLst>
            </p:cNvPr>
            <p:cNvSpPr/>
            <p:nvPr/>
          </p:nvSpPr>
          <p:spPr>
            <a:xfrm>
              <a:off x="9289770" y="824262"/>
              <a:ext cx="673766" cy="351169"/>
            </a:xfrm>
            <a:custGeom>
              <a:avLst/>
              <a:gdLst>
                <a:gd name="connsiteX0" fmla="*/ 337201 w 673766"/>
                <a:gd name="connsiteY0" fmla="*/ 0 h 351169"/>
                <a:gd name="connsiteX1" fmla="*/ 673767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7201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7201" y="0"/>
                  </a:moveTo>
                  <a:lnTo>
                    <a:pt x="673767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7F10CAC9-5E2F-4D4B-8762-1EE74B2EE4C7}"/>
                </a:ext>
              </a:extLst>
            </p:cNvPr>
            <p:cNvSpPr/>
            <p:nvPr/>
          </p:nvSpPr>
          <p:spPr>
            <a:xfrm>
              <a:off x="9968617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DA3B5C39-F1BB-4A8E-8E22-5D750A638332}"/>
                </a:ext>
              </a:extLst>
            </p:cNvPr>
            <p:cNvSpPr/>
            <p:nvPr/>
          </p:nvSpPr>
          <p:spPr>
            <a:xfrm>
              <a:off x="9970522" y="824262"/>
              <a:ext cx="673766" cy="351169"/>
            </a:xfrm>
            <a:custGeom>
              <a:avLst/>
              <a:gdLst>
                <a:gd name="connsiteX0" fmla="*/ 336566 w 673766"/>
                <a:gd name="connsiteY0" fmla="*/ 0 h 351169"/>
                <a:gd name="connsiteX1" fmla="*/ 673766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6566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6566" y="0"/>
                  </a:moveTo>
                  <a:lnTo>
                    <a:pt x="673766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6566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1C23EC0F-A6E1-40B6-884C-76B1582A16F8}"/>
                </a:ext>
              </a:extLst>
            </p:cNvPr>
            <p:cNvSpPr/>
            <p:nvPr/>
          </p:nvSpPr>
          <p:spPr>
            <a:xfrm>
              <a:off x="10649369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24328EBA-4DDC-4236-B440-BF0A104F46E2}"/>
                </a:ext>
              </a:extLst>
            </p:cNvPr>
            <p:cNvSpPr/>
            <p:nvPr/>
          </p:nvSpPr>
          <p:spPr>
            <a:xfrm>
              <a:off x="10651274" y="824262"/>
              <a:ext cx="673766" cy="351169"/>
            </a:xfrm>
            <a:custGeom>
              <a:avLst/>
              <a:gdLst>
                <a:gd name="connsiteX0" fmla="*/ 336565 w 673766"/>
                <a:gd name="connsiteY0" fmla="*/ 0 h 351169"/>
                <a:gd name="connsiteX1" fmla="*/ 673767 w 673766"/>
                <a:gd name="connsiteY1" fmla="*/ 233689 h 351169"/>
                <a:gd name="connsiteX2" fmla="*/ 506119 w 673766"/>
                <a:gd name="connsiteY2" fmla="*/ 350534 h 351169"/>
                <a:gd name="connsiteX3" fmla="*/ 337836 w 673766"/>
                <a:gd name="connsiteY3" fmla="*/ 234324 h 351169"/>
                <a:gd name="connsiteX4" fmla="*/ 336565 w 673766"/>
                <a:gd name="connsiteY4" fmla="*/ 233689 h 351169"/>
                <a:gd name="connsiteX5" fmla="*/ 168283 w 673766"/>
                <a:gd name="connsiteY5" fmla="*/ 351169 h 351169"/>
                <a:gd name="connsiteX6" fmla="*/ 0 w 673766"/>
                <a:gd name="connsiteY6" fmla="*/ 233689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336565" y="0"/>
                  </a:moveTo>
                  <a:lnTo>
                    <a:pt x="673767" y="233689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6565" y="233689"/>
                  </a:lnTo>
                  <a:lnTo>
                    <a:pt x="168283" y="351169"/>
                  </a:lnTo>
                  <a:lnTo>
                    <a:pt x="0" y="23368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D90F04C2-DE22-476E-90B0-F39240F8C370}"/>
                </a:ext>
              </a:extLst>
            </p:cNvPr>
            <p:cNvSpPr/>
            <p:nvPr/>
          </p:nvSpPr>
          <p:spPr>
            <a:xfrm>
              <a:off x="11330121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3F901A7-A96D-4225-B56B-097F10BA4198}"/>
                </a:ext>
              </a:extLst>
            </p:cNvPr>
            <p:cNvSpPr/>
            <p:nvPr/>
          </p:nvSpPr>
          <p:spPr>
            <a:xfrm>
              <a:off x="11330121" y="1061762"/>
              <a:ext cx="336565" cy="702338"/>
            </a:xfrm>
            <a:custGeom>
              <a:avLst/>
              <a:gdLst>
                <a:gd name="connsiteX0" fmla="*/ 336566 w 336565"/>
                <a:gd name="connsiteY0" fmla="*/ 468649 h 702338"/>
                <a:gd name="connsiteX1" fmla="*/ 336566 w 336565"/>
                <a:gd name="connsiteY1" fmla="*/ 702338 h 702338"/>
                <a:gd name="connsiteX2" fmla="*/ 0 w 336565"/>
                <a:gd name="connsiteY2" fmla="*/ 468649 h 702338"/>
                <a:gd name="connsiteX3" fmla="*/ 0 w 336565"/>
                <a:gd name="connsiteY3" fmla="*/ 0 h 702338"/>
                <a:gd name="connsiteX4" fmla="*/ 167648 w 336565"/>
                <a:gd name="connsiteY4" fmla="*/ 116845 h 702338"/>
                <a:gd name="connsiteX5" fmla="*/ 167648 w 336565"/>
                <a:gd name="connsiteY5" fmla="*/ 351169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336566" y="468649"/>
                  </a:move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lnTo>
                    <a:pt x="167648" y="116845"/>
                  </a:lnTo>
                  <a:lnTo>
                    <a:pt x="167648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B8C23906-A74F-484F-B5D0-F8D1D70E416B}"/>
                </a:ext>
              </a:extLst>
            </p:cNvPr>
            <p:cNvSpPr/>
            <p:nvPr/>
          </p:nvSpPr>
          <p:spPr>
            <a:xfrm>
              <a:off x="11670497" y="1297991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617012FE-D9A3-40B2-917B-05B21C90D142}"/>
                </a:ext>
              </a:extLst>
            </p:cNvPr>
            <p:cNvSpPr/>
            <p:nvPr/>
          </p:nvSpPr>
          <p:spPr>
            <a:xfrm>
              <a:off x="5884741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AEF34A93-EB7C-48BD-B3A6-4C56EECA01A5}"/>
                </a:ext>
              </a:extLst>
            </p:cNvPr>
            <p:cNvSpPr/>
            <p:nvPr/>
          </p:nvSpPr>
          <p:spPr>
            <a:xfrm>
              <a:off x="6565493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8238E33-6A82-49C9-A952-76FDF8F1FE43}"/>
                </a:ext>
              </a:extLst>
            </p:cNvPr>
            <p:cNvSpPr/>
            <p:nvPr/>
          </p:nvSpPr>
          <p:spPr>
            <a:xfrm>
              <a:off x="7246245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25DF4D9B-EE59-4AD9-B375-3288C1C1B918}"/>
                </a:ext>
              </a:extLst>
            </p:cNvPr>
            <p:cNvSpPr/>
            <p:nvPr/>
          </p:nvSpPr>
          <p:spPr>
            <a:xfrm>
              <a:off x="7926997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FE180511-C746-4C16-A9B7-28A0EB58DCD4}"/>
                </a:ext>
              </a:extLst>
            </p:cNvPr>
            <p:cNvSpPr/>
            <p:nvPr/>
          </p:nvSpPr>
          <p:spPr>
            <a:xfrm>
              <a:off x="8607749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F35AF811-12BC-469A-805D-3D67E3B3FECF}"/>
                </a:ext>
              </a:extLst>
            </p:cNvPr>
            <p:cNvSpPr/>
            <p:nvPr/>
          </p:nvSpPr>
          <p:spPr>
            <a:xfrm>
              <a:off x="9288500" y="1061762"/>
              <a:ext cx="336565" cy="702338"/>
            </a:xfrm>
            <a:custGeom>
              <a:avLst/>
              <a:gdLst>
                <a:gd name="connsiteX0" fmla="*/ 167648 w 336565"/>
                <a:gd name="connsiteY0" fmla="*/ 116845 h 702338"/>
                <a:gd name="connsiteX1" fmla="*/ 167648 w 336565"/>
                <a:gd name="connsiteY1" fmla="*/ 351169 h 702338"/>
                <a:gd name="connsiteX2" fmla="*/ 336566 w 336565"/>
                <a:gd name="connsiteY2" fmla="*/ 468649 h 702338"/>
                <a:gd name="connsiteX3" fmla="*/ 336566 w 336565"/>
                <a:gd name="connsiteY3" fmla="*/ 702338 h 702338"/>
                <a:gd name="connsiteX4" fmla="*/ 0 w 336565"/>
                <a:gd name="connsiteY4" fmla="*/ 468649 h 702338"/>
                <a:gd name="connsiteX5" fmla="*/ 0 w 336565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0C82A089-6B43-410E-8EB1-81A84B4636F9}"/>
                </a:ext>
              </a:extLst>
            </p:cNvPr>
            <p:cNvSpPr/>
            <p:nvPr/>
          </p:nvSpPr>
          <p:spPr>
            <a:xfrm>
              <a:off x="9968617" y="1061762"/>
              <a:ext cx="337200" cy="702338"/>
            </a:xfrm>
            <a:custGeom>
              <a:avLst/>
              <a:gdLst>
                <a:gd name="connsiteX0" fmla="*/ 168283 w 337200"/>
                <a:gd name="connsiteY0" fmla="*/ 116845 h 702338"/>
                <a:gd name="connsiteX1" fmla="*/ 168283 w 337200"/>
                <a:gd name="connsiteY1" fmla="*/ 351169 h 702338"/>
                <a:gd name="connsiteX2" fmla="*/ 337201 w 337200"/>
                <a:gd name="connsiteY2" fmla="*/ 468649 h 702338"/>
                <a:gd name="connsiteX3" fmla="*/ 337201 w 337200"/>
                <a:gd name="connsiteY3" fmla="*/ 702338 h 702338"/>
                <a:gd name="connsiteX4" fmla="*/ 0 w 337200"/>
                <a:gd name="connsiteY4" fmla="*/ 468649 h 702338"/>
                <a:gd name="connsiteX5" fmla="*/ 0 w 337200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168283" y="116845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6A892B4-E765-440F-902C-C7B744380C77}"/>
                </a:ext>
              </a:extLst>
            </p:cNvPr>
            <p:cNvSpPr/>
            <p:nvPr/>
          </p:nvSpPr>
          <p:spPr>
            <a:xfrm>
              <a:off x="10649369" y="1061762"/>
              <a:ext cx="337200" cy="702338"/>
            </a:xfrm>
            <a:custGeom>
              <a:avLst/>
              <a:gdLst>
                <a:gd name="connsiteX0" fmla="*/ 168283 w 337200"/>
                <a:gd name="connsiteY0" fmla="*/ 116845 h 702338"/>
                <a:gd name="connsiteX1" fmla="*/ 168283 w 337200"/>
                <a:gd name="connsiteY1" fmla="*/ 351169 h 702338"/>
                <a:gd name="connsiteX2" fmla="*/ 337201 w 337200"/>
                <a:gd name="connsiteY2" fmla="*/ 468649 h 702338"/>
                <a:gd name="connsiteX3" fmla="*/ 337201 w 337200"/>
                <a:gd name="connsiteY3" fmla="*/ 702338 h 702338"/>
                <a:gd name="connsiteX4" fmla="*/ 0 w 337200"/>
                <a:gd name="connsiteY4" fmla="*/ 468649 h 702338"/>
                <a:gd name="connsiteX5" fmla="*/ 0 w 337200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168283" y="116845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F8946D8A-C4D0-4B6B-BC13-9085E87B09A1}"/>
                </a:ext>
              </a:extLst>
            </p:cNvPr>
            <p:cNvSpPr/>
            <p:nvPr/>
          </p:nvSpPr>
          <p:spPr>
            <a:xfrm>
              <a:off x="10989745" y="1298626"/>
              <a:ext cx="336565" cy="465473"/>
            </a:xfrm>
            <a:custGeom>
              <a:avLst/>
              <a:gdLst>
                <a:gd name="connsiteX0" fmla="*/ 336566 w 336565"/>
                <a:gd name="connsiteY0" fmla="*/ 231784 h 465473"/>
                <a:gd name="connsiteX1" fmla="*/ 0 w 336565"/>
                <a:gd name="connsiteY1" fmla="*/ 465474 h 465473"/>
                <a:gd name="connsiteX2" fmla="*/ 0 w 336565"/>
                <a:gd name="connsiteY2" fmla="*/ 231784 h 465473"/>
                <a:gd name="connsiteX3" fmla="*/ 336566 w 336565"/>
                <a:gd name="connsiteY3" fmla="*/ 0 h 4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5473">
                  <a:moveTo>
                    <a:pt x="336566" y="231784"/>
                  </a:moveTo>
                  <a:lnTo>
                    <a:pt x="0" y="465474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411E3C16-5FC0-45F0-A5EE-F8279D9465BB}"/>
                </a:ext>
              </a:extLst>
            </p:cNvPr>
            <p:cNvSpPr/>
            <p:nvPr/>
          </p:nvSpPr>
          <p:spPr>
            <a:xfrm>
              <a:off x="10989745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23FB0399-8E5D-4D7E-A112-B96C75021B37}"/>
                </a:ext>
              </a:extLst>
            </p:cNvPr>
            <p:cNvSpPr/>
            <p:nvPr/>
          </p:nvSpPr>
          <p:spPr>
            <a:xfrm>
              <a:off x="6225117" y="1297991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1ECE2692-953B-4AC1-967A-07C2B9325CE9}"/>
                </a:ext>
              </a:extLst>
            </p:cNvPr>
            <p:cNvSpPr/>
            <p:nvPr/>
          </p:nvSpPr>
          <p:spPr>
            <a:xfrm>
              <a:off x="6226387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8471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5EF41F3E-1ED1-4531-A78F-92ECADC62005}"/>
                </a:ext>
              </a:extLst>
            </p:cNvPr>
            <p:cNvSpPr/>
            <p:nvPr/>
          </p:nvSpPr>
          <p:spPr>
            <a:xfrm>
              <a:off x="6905869" y="1297991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43E3060-ACF3-4671-8363-605AE0C6E82B}"/>
                </a:ext>
              </a:extLst>
            </p:cNvPr>
            <p:cNvSpPr/>
            <p:nvPr/>
          </p:nvSpPr>
          <p:spPr>
            <a:xfrm>
              <a:off x="6907139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1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AC77EAC-09BC-4C0A-9631-F8E8A7601F2C}"/>
                </a:ext>
              </a:extLst>
            </p:cNvPr>
            <p:cNvSpPr/>
            <p:nvPr/>
          </p:nvSpPr>
          <p:spPr>
            <a:xfrm>
              <a:off x="7586621" y="1297991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940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0A9BF34A-5F29-4331-A5A9-368590661D06}"/>
                </a:ext>
              </a:extLst>
            </p:cNvPr>
            <p:cNvSpPr/>
            <p:nvPr/>
          </p:nvSpPr>
          <p:spPr>
            <a:xfrm>
              <a:off x="7587891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E51A0FD3-1C0A-46B4-B0DC-683E6C961442}"/>
                </a:ext>
              </a:extLst>
            </p:cNvPr>
            <p:cNvSpPr/>
            <p:nvPr/>
          </p:nvSpPr>
          <p:spPr>
            <a:xfrm>
              <a:off x="8267372" y="1297991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940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89A00A66-1ED0-4EE0-9A96-086FA9F03DEB}"/>
                </a:ext>
              </a:extLst>
            </p:cNvPr>
            <p:cNvSpPr/>
            <p:nvPr/>
          </p:nvSpPr>
          <p:spPr>
            <a:xfrm>
              <a:off x="8268643" y="1533586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432786C6-288E-4BEB-959D-0E1427BC8444}"/>
                </a:ext>
              </a:extLst>
            </p:cNvPr>
            <p:cNvSpPr/>
            <p:nvPr/>
          </p:nvSpPr>
          <p:spPr>
            <a:xfrm>
              <a:off x="8948124" y="1297991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D956F3A2-7473-4D7A-81E6-1A7935A3CBCD}"/>
                </a:ext>
              </a:extLst>
            </p:cNvPr>
            <p:cNvSpPr/>
            <p:nvPr/>
          </p:nvSpPr>
          <p:spPr>
            <a:xfrm>
              <a:off x="8949395" y="1533586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9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5AD55FF9-7A83-49C4-8987-6B407213FD82}"/>
                </a:ext>
              </a:extLst>
            </p:cNvPr>
            <p:cNvSpPr/>
            <p:nvPr/>
          </p:nvSpPr>
          <p:spPr>
            <a:xfrm>
              <a:off x="9628876" y="1297991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CB1CA6EF-C90C-4F5E-83D6-5836FC356AC1}"/>
                </a:ext>
              </a:extLst>
            </p:cNvPr>
            <p:cNvSpPr/>
            <p:nvPr/>
          </p:nvSpPr>
          <p:spPr>
            <a:xfrm>
              <a:off x="9630146" y="1533586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8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8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67569F49-3B0E-4616-8E49-14DDF3711780}"/>
                </a:ext>
              </a:extLst>
            </p:cNvPr>
            <p:cNvSpPr/>
            <p:nvPr/>
          </p:nvSpPr>
          <p:spPr>
            <a:xfrm>
              <a:off x="10308993" y="1297991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ED7F85D0-1DC8-4D42-9601-1DF3EF1B1459}"/>
                </a:ext>
              </a:extLst>
            </p:cNvPr>
            <p:cNvSpPr/>
            <p:nvPr/>
          </p:nvSpPr>
          <p:spPr>
            <a:xfrm>
              <a:off x="10310898" y="1533586"/>
              <a:ext cx="673766" cy="351168"/>
            </a:xfrm>
            <a:custGeom>
              <a:avLst/>
              <a:gdLst>
                <a:gd name="connsiteX0" fmla="*/ 336566 w 673766"/>
                <a:gd name="connsiteY0" fmla="*/ 0 h 351168"/>
                <a:gd name="connsiteX1" fmla="*/ 673766 w 673766"/>
                <a:gd name="connsiteY1" fmla="*/ 234324 h 351168"/>
                <a:gd name="connsiteX2" fmla="*/ 506119 w 673766"/>
                <a:gd name="connsiteY2" fmla="*/ 350534 h 351168"/>
                <a:gd name="connsiteX3" fmla="*/ 337836 w 673766"/>
                <a:gd name="connsiteY3" fmla="*/ 234324 h 351168"/>
                <a:gd name="connsiteX4" fmla="*/ 336566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6566" y="0"/>
                  </a:moveTo>
                  <a:lnTo>
                    <a:pt x="673766" y="234324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6566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C4B2E9D1-3071-4E57-9223-9A98C4F952D9}"/>
                </a:ext>
              </a:extLst>
            </p:cNvPr>
            <p:cNvSpPr/>
            <p:nvPr/>
          </p:nvSpPr>
          <p:spPr>
            <a:xfrm>
              <a:off x="10989745" y="1297991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7F693C5B-0DF6-4E60-AABF-9C128C0A0F37}"/>
                </a:ext>
              </a:extLst>
            </p:cNvPr>
            <p:cNvSpPr/>
            <p:nvPr/>
          </p:nvSpPr>
          <p:spPr>
            <a:xfrm>
              <a:off x="10649369" y="2007950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0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25E6A8BA-2AE0-449D-B1E5-F4620FA8F7E8}"/>
                </a:ext>
              </a:extLst>
            </p:cNvPr>
            <p:cNvSpPr/>
            <p:nvPr/>
          </p:nvSpPr>
          <p:spPr>
            <a:xfrm>
              <a:off x="10649369" y="2481044"/>
              <a:ext cx="337200" cy="702337"/>
            </a:xfrm>
            <a:custGeom>
              <a:avLst/>
              <a:gdLst>
                <a:gd name="connsiteX0" fmla="*/ 337201 w 337200"/>
                <a:gd name="connsiteY0" fmla="*/ 468649 h 702337"/>
                <a:gd name="connsiteX1" fmla="*/ 337201 w 337200"/>
                <a:gd name="connsiteY1" fmla="*/ 702338 h 702337"/>
                <a:gd name="connsiteX2" fmla="*/ 0 w 337200"/>
                <a:gd name="connsiteY2" fmla="*/ 468649 h 702337"/>
                <a:gd name="connsiteX3" fmla="*/ 0 w 337200"/>
                <a:gd name="connsiteY3" fmla="*/ 0 h 702337"/>
                <a:gd name="connsiteX4" fmla="*/ 168283 w 337200"/>
                <a:gd name="connsiteY4" fmla="*/ 116845 h 702337"/>
                <a:gd name="connsiteX5" fmla="*/ 168283 w 337200"/>
                <a:gd name="connsiteY5" fmla="*/ 351169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7">
                  <a:moveTo>
                    <a:pt x="337201" y="468649"/>
                  </a:move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lnTo>
                    <a:pt x="168283" y="116845"/>
                  </a:lnTo>
                  <a:lnTo>
                    <a:pt x="168283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1ADDF2A-388B-4186-AD3F-0586B748E92C}"/>
                </a:ext>
              </a:extLst>
            </p:cNvPr>
            <p:cNvSpPr/>
            <p:nvPr/>
          </p:nvSpPr>
          <p:spPr>
            <a:xfrm>
              <a:off x="10989745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443CACCB-39E2-4EA8-AC99-9401646FDCB0}"/>
                </a:ext>
              </a:extLst>
            </p:cNvPr>
            <p:cNvSpPr/>
            <p:nvPr/>
          </p:nvSpPr>
          <p:spPr>
            <a:xfrm>
              <a:off x="10649369" y="3427232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0 w 337200"/>
                <a:gd name="connsiteY1" fmla="*/ 466108 h 466108"/>
                <a:gd name="connsiteX2" fmla="*/ 0 w 337200"/>
                <a:gd name="connsiteY2" fmla="*/ 231784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26C8C4B9-7425-4479-B651-308F9DD66200}"/>
                </a:ext>
              </a:extLst>
            </p:cNvPr>
            <p:cNvSpPr/>
            <p:nvPr/>
          </p:nvSpPr>
          <p:spPr>
            <a:xfrm>
              <a:off x="6225117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B744EA5-A0DD-48CB-BD03-E3283B6C1FAB}"/>
                </a:ext>
              </a:extLst>
            </p:cNvPr>
            <p:cNvSpPr/>
            <p:nvPr/>
          </p:nvSpPr>
          <p:spPr>
            <a:xfrm>
              <a:off x="6905869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EC0FB516-189B-4E42-9CDF-C87020608F8C}"/>
                </a:ext>
              </a:extLst>
            </p:cNvPr>
            <p:cNvSpPr/>
            <p:nvPr/>
          </p:nvSpPr>
          <p:spPr>
            <a:xfrm>
              <a:off x="7586621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3CAD79AE-A908-419C-B3E9-6F3003319534}"/>
                </a:ext>
              </a:extLst>
            </p:cNvPr>
            <p:cNvSpPr/>
            <p:nvPr/>
          </p:nvSpPr>
          <p:spPr>
            <a:xfrm>
              <a:off x="8267372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F7334151-2D90-4AD6-93A6-5C9B540CE6A9}"/>
                </a:ext>
              </a:extLst>
            </p:cNvPr>
            <p:cNvSpPr/>
            <p:nvPr/>
          </p:nvSpPr>
          <p:spPr>
            <a:xfrm>
              <a:off x="8948124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9CD0CF71-D7D8-4F66-B05F-5534BA861FE8}"/>
                </a:ext>
              </a:extLst>
            </p:cNvPr>
            <p:cNvSpPr/>
            <p:nvPr/>
          </p:nvSpPr>
          <p:spPr>
            <a:xfrm>
              <a:off x="9628876" y="1771085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9284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01CDDE50-8826-418D-BE3C-CE7FC5CF963E}"/>
                </a:ext>
              </a:extLst>
            </p:cNvPr>
            <p:cNvSpPr/>
            <p:nvPr/>
          </p:nvSpPr>
          <p:spPr>
            <a:xfrm>
              <a:off x="10308993" y="1771720"/>
              <a:ext cx="337201" cy="702338"/>
            </a:xfrm>
            <a:custGeom>
              <a:avLst/>
              <a:gdLst>
                <a:gd name="connsiteX0" fmla="*/ 168283 w 337201"/>
                <a:gd name="connsiteY0" fmla="*/ 116210 h 702338"/>
                <a:gd name="connsiteX1" fmla="*/ 168283 w 337201"/>
                <a:gd name="connsiteY1" fmla="*/ 351169 h 702338"/>
                <a:gd name="connsiteX2" fmla="*/ 337201 w 337201"/>
                <a:gd name="connsiteY2" fmla="*/ 468649 h 702338"/>
                <a:gd name="connsiteX3" fmla="*/ 337201 w 337201"/>
                <a:gd name="connsiteY3" fmla="*/ 702338 h 702338"/>
                <a:gd name="connsiteX4" fmla="*/ 0 w 337201"/>
                <a:gd name="connsiteY4" fmla="*/ 468014 h 702338"/>
                <a:gd name="connsiteX5" fmla="*/ 0 w 337201"/>
                <a:gd name="connsiteY5" fmla="*/ 0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1" h="702338">
                  <a:moveTo>
                    <a:pt x="168283" y="116210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0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CFC56595-95A9-4044-BEB7-338F22D1B63E}"/>
                </a:ext>
              </a:extLst>
            </p:cNvPr>
            <p:cNvSpPr/>
            <p:nvPr/>
          </p:nvSpPr>
          <p:spPr>
            <a:xfrm>
              <a:off x="5884741" y="2007950"/>
              <a:ext cx="164472" cy="227974"/>
            </a:xfrm>
            <a:custGeom>
              <a:avLst/>
              <a:gdLst>
                <a:gd name="connsiteX0" fmla="*/ 164473 w 164472"/>
                <a:gd name="connsiteY0" fmla="*/ 114305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C330D5F3-E30E-4C16-A64E-11AF52E979BD}"/>
                </a:ext>
              </a:extLst>
            </p:cNvPr>
            <p:cNvSpPr/>
            <p:nvPr/>
          </p:nvSpPr>
          <p:spPr>
            <a:xfrm>
              <a:off x="5886011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2 w 674401"/>
                <a:gd name="connsiteY1" fmla="*/ 234324 h 351804"/>
                <a:gd name="connsiteX2" fmla="*/ 506754 w 674401"/>
                <a:gd name="connsiteY2" fmla="*/ 351169 h 351804"/>
                <a:gd name="connsiteX3" fmla="*/ 338471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782BD340-55C8-47D4-92B8-8B2B97FC65F7}"/>
                </a:ext>
              </a:extLst>
            </p:cNvPr>
            <p:cNvSpPr/>
            <p:nvPr/>
          </p:nvSpPr>
          <p:spPr>
            <a:xfrm>
              <a:off x="6565493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305DA62D-3E8B-4444-9940-A06926FDB9CF}"/>
                </a:ext>
              </a:extLst>
            </p:cNvPr>
            <p:cNvSpPr/>
            <p:nvPr/>
          </p:nvSpPr>
          <p:spPr>
            <a:xfrm>
              <a:off x="6566763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2 w 674401"/>
                <a:gd name="connsiteY1" fmla="*/ 234324 h 351804"/>
                <a:gd name="connsiteX2" fmla="*/ 506754 w 674401"/>
                <a:gd name="connsiteY2" fmla="*/ 351169 h 351804"/>
                <a:gd name="connsiteX3" fmla="*/ 338471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C31DF2A-3F35-4928-AE6F-FD139173A0FB}"/>
                </a:ext>
              </a:extLst>
            </p:cNvPr>
            <p:cNvSpPr/>
            <p:nvPr/>
          </p:nvSpPr>
          <p:spPr>
            <a:xfrm>
              <a:off x="7246245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033AB131-8015-4D37-8013-5F2C1AF3203E}"/>
                </a:ext>
              </a:extLst>
            </p:cNvPr>
            <p:cNvSpPr/>
            <p:nvPr/>
          </p:nvSpPr>
          <p:spPr>
            <a:xfrm>
              <a:off x="7247515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2 w 674401"/>
                <a:gd name="connsiteY1" fmla="*/ 234324 h 351804"/>
                <a:gd name="connsiteX2" fmla="*/ 506754 w 674401"/>
                <a:gd name="connsiteY2" fmla="*/ 351169 h 351804"/>
                <a:gd name="connsiteX3" fmla="*/ 337836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299B9582-93C4-45E7-A59E-31617D1D3020}"/>
                </a:ext>
              </a:extLst>
            </p:cNvPr>
            <p:cNvSpPr/>
            <p:nvPr/>
          </p:nvSpPr>
          <p:spPr>
            <a:xfrm>
              <a:off x="7926997" y="2007950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DD141CE6-D000-4C34-AAED-AC6ADC543E23}"/>
                </a:ext>
              </a:extLst>
            </p:cNvPr>
            <p:cNvSpPr/>
            <p:nvPr/>
          </p:nvSpPr>
          <p:spPr>
            <a:xfrm>
              <a:off x="7928267" y="2242909"/>
              <a:ext cx="674401" cy="351804"/>
            </a:xfrm>
            <a:custGeom>
              <a:avLst/>
              <a:gdLst>
                <a:gd name="connsiteX0" fmla="*/ 337201 w 674401"/>
                <a:gd name="connsiteY0" fmla="*/ 0 h 351804"/>
                <a:gd name="connsiteX1" fmla="*/ 674401 w 674401"/>
                <a:gd name="connsiteY1" fmla="*/ 234324 h 351804"/>
                <a:gd name="connsiteX2" fmla="*/ 506754 w 674401"/>
                <a:gd name="connsiteY2" fmla="*/ 351169 h 351804"/>
                <a:gd name="connsiteX3" fmla="*/ 337836 w 674401"/>
                <a:gd name="connsiteY3" fmla="*/ 234959 h 351804"/>
                <a:gd name="connsiteX4" fmla="*/ 337201 w 674401"/>
                <a:gd name="connsiteY4" fmla="*/ 234324 h 351804"/>
                <a:gd name="connsiteX5" fmla="*/ 168283 w 674401"/>
                <a:gd name="connsiteY5" fmla="*/ 351804 h 351804"/>
                <a:gd name="connsiteX6" fmla="*/ 0 w 674401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13B89D51-61C9-47E3-9D41-42A55AC37292}"/>
                </a:ext>
              </a:extLst>
            </p:cNvPr>
            <p:cNvSpPr/>
            <p:nvPr/>
          </p:nvSpPr>
          <p:spPr>
            <a:xfrm>
              <a:off x="8607749" y="2007950"/>
              <a:ext cx="163837" cy="227974"/>
            </a:xfrm>
            <a:custGeom>
              <a:avLst/>
              <a:gdLst>
                <a:gd name="connsiteX0" fmla="*/ 163838 w 163837"/>
                <a:gd name="connsiteY0" fmla="*/ 114305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305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325920DF-F3A8-4F16-905C-3122D1E2B44D}"/>
                </a:ext>
              </a:extLst>
            </p:cNvPr>
            <p:cNvSpPr/>
            <p:nvPr/>
          </p:nvSpPr>
          <p:spPr>
            <a:xfrm>
              <a:off x="8609018" y="2242909"/>
              <a:ext cx="673766" cy="351804"/>
            </a:xfrm>
            <a:custGeom>
              <a:avLst/>
              <a:gdLst>
                <a:gd name="connsiteX0" fmla="*/ 337201 w 673766"/>
                <a:gd name="connsiteY0" fmla="*/ 0 h 351804"/>
                <a:gd name="connsiteX1" fmla="*/ 673767 w 673766"/>
                <a:gd name="connsiteY1" fmla="*/ 234324 h 351804"/>
                <a:gd name="connsiteX2" fmla="*/ 506119 w 673766"/>
                <a:gd name="connsiteY2" fmla="*/ 351169 h 351804"/>
                <a:gd name="connsiteX3" fmla="*/ 337836 w 673766"/>
                <a:gd name="connsiteY3" fmla="*/ 234959 h 351804"/>
                <a:gd name="connsiteX4" fmla="*/ 337201 w 673766"/>
                <a:gd name="connsiteY4" fmla="*/ 234324 h 351804"/>
                <a:gd name="connsiteX5" fmla="*/ 168283 w 673766"/>
                <a:gd name="connsiteY5" fmla="*/ 351804 h 351804"/>
                <a:gd name="connsiteX6" fmla="*/ 0 w 673766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7201" y="0"/>
                  </a:moveTo>
                  <a:lnTo>
                    <a:pt x="673767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1F934023-089F-4239-B5D8-F8BEAD47DB37}"/>
                </a:ext>
              </a:extLst>
            </p:cNvPr>
            <p:cNvSpPr/>
            <p:nvPr/>
          </p:nvSpPr>
          <p:spPr>
            <a:xfrm>
              <a:off x="9288500" y="2007950"/>
              <a:ext cx="163837" cy="227339"/>
            </a:xfrm>
            <a:custGeom>
              <a:avLst/>
              <a:gdLst>
                <a:gd name="connsiteX0" fmla="*/ 0 w 163837"/>
                <a:gd name="connsiteY0" fmla="*/ 0 h 227339"/>
                <a:gd name="connsiteX1" fmla="*/ 163838 w 163837"/>
                <a:gd name="connsiteY1" fmla="*/ 114305 h 227339"/>
                <a:gd name="connsiteX2" fmla="*/ 0 w 163837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0" y="0"/>
                  </a:moveTo>
                  <a:lnTo>
                    <a:pt x="163838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D759BE44-28FC-41D3-8C50-F468A5FFB64D}"/>
                </a:ext>
              </a:extLst>
            </p:cNvPr>
            <p:cNvSpPr/>
            <p:nvPr/>
          </p:nvSpPr>
          <p:spPr>
            <a:xfrm>
              <a:off x="9289770" y="2242909"/>
              <a:ext cx="673766" cy="351804"/>
            </a:xfrm>
            <a:custGeom>
              <a:avLst/>
              <a:gdLst>
                <a:gd name="connsiteX0" fmla="*/ 337201 w 673766"/>
                <a:gd name="connsiteY0" fmla="*/ 0 h 351804"/>
                <a:gd name="connsiteX1" fmla="*/ 673767 w 673766"/>
                <a:gd name="connsiteY1" fmla="*/ 234324 h 351804"/>
                <a:gd name="connsiteX2" fmla="*/ 506119 w 673766"/>
                <a:gd name="connsiteY2" fmla="*/ 351169 h 351804"/>
                <a:gd name="connsiteX3" fmla="*/ 337836 w 673766"/>
                <a:gd name="connsiteY3" fmla="*/ 234959 h 351804"/>
                <a:gd name="connsiteX4" fmla="*/ 337201 w 673766"/>
                <a:gd name="connsiteY4" fmla="*/ 234324 h 351804"/>
                <a:gd name="connsiteX5" fmla="*/ 168283 w 673766"/>
                <a:gd name="connsiteY5" fmla="*/ 351804 h 351804"/>
                <a:gd name="connsiteX6" fmla="*/ 0 w 673766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7201" y="0"/>
                  </a:moveTo>
                  <a:lnTo>
                    <a:pt x="673767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8BDA129B-34BF-4C48-A1FB-FE16A8646049}"/>
                </a:ext>
              </a:extLst>
            </p:cNvPr>
            <p:cNvSpPr/>
            <p:nvPr/>
          </p:nvSpPr>
          <p:spPr>
            <a:xfrm>
              <a:off x="9968617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B2510271-CBAA-4CC6-BC87-13A4440156B9}"/>
                </a:ext>
              </a:extLst>
            </p:cNvPr>
            <p:cNvSpPr/>
            <p:nvPr/>
          </p:nvSpPr>
          <p:spPr>
            <a:xfrm>
              <a:off x="9970522" y="2242909"/>
              <a:ext cx="673766" cy="351804"/>
            </a:xfrm>
            <a:custGeom>
              <a:avLst/>
              <a:gdLst>
                <a:gd name="connsiteX0" fmla="*/ 336566 w 673766"/>
                <a:gd name="connsiteY0" fmla="*/ 0 h 351804"/>
                <a:gd name="connsiteX1" fmla="*/ 673766 w 673766"/>
                <a:gd name="connsiteY1" fmla="*/ 234324 h 351804"/>
                <a:gd name="connsiteX2" fmla="*/ 506119 w 673766"/>
                <a:gd name="connsiteY2" fmla="*/ 351169 h 351804"/>
                <a:gd name="connsiteX3" fmla="*/ 337836 w 673766"/>
                <a:gd name="connsiteY3" fmla="*/ 234959 h 351804"/>
                <a:gd name="connsiteX4" fmla="*/ 336566 w 673766"/>
                <a:gd name="connsiteY4" fmla="*/ 234324 h 351804"/>
                <a:gd name="connsiteX5" fmla="*/ 168283 w 673766"/>
                <a:gd name="connsiteY5" fmla="*/ 351804 h 351804"/>
                <a:gd name="connsiteX6" fmla="*/ 0 w 673766"/>
                <a:gd name="connsiteY6" fmla="*/ 234324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6566" y="0"/>
                  </a:moveTo>
                  <a:lnTo>
                    <a:pt x="673766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6566" y="234324"/>
                  </a:lnTo>
                  <a:lnTo>
                    <a:pt x="168283" y="351804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32248F2F-4F58-4B95-9DB5-83046F1408B8}"/>
                </a:ext>
              </a:extLst>
            </p:cNvPr>
            <p:cNvSpPr/>
            <p:nvPr/>
          </p:nvSpPr>
          <p:spPr>
            <a:xfrm>
              <a:off x="10308993" y="2717273"/>
              <a:ext cx="337201" cy="466108"/>
            </a:xfrm>
            <a:custGeom>
              <a:avLst/>
              <a:gdLst>
                <a:gd name="connsiteX0" fmla="*/ 337201 w 337201"/>
                <a:gd name="connsiteY0" fmla="*/ 232419 h 466108"/>
                <a:gd name="connsiteX1" fmla="*/ 0 w 337201"/>
                <a:gd name="connsiteY1" fmla="*/ 466109 h 466108"/>
                <a:gd name="connsiteX2" fmla="*/ 0 w 337201"/>
                <a:gd name="connsiteY2" fmla="*/ 232419 h 466108"/>
                <a:gd name="connsiteX3" fmla="*/ 337201 w 337201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1" h="466108">
                  <a:moveTo>
                    <a:pt x="337201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DC50E18B-F19A-4CFF-AC12-071B40EAAC93}"/>
                </a:ext>
              </a:extLst>
            </p:cNvPr>
            <p:cNvSpPr/>
            <p:nvPr/>
          </p:nvSpPr>
          <p:spPr>
            <a:xfrm>
              <a:off x="5884741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3CE00540-4227-41C0-AD1F-68B5936D35EB}"/>
                </a:ext>
              </a:extLst>
            </p:cNvPr>
            <p:cNvSpPr/>
            <p:nvPr/>
          </p:nvSpPr>
          <p:spPr>
            <a:xfrm>
              <a:off x="6565493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55EFD218-9869-495E-AD61-860397277F65}"/>
                </a:ext>
              </a:extLst>
            </p:cNvPr>
            <p:cNvSpPr/>
            <p:nvPr/>
          </p:nvSpPr>
          <p:spPr>
            <a:xfrm>
              <a:off x="7246245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86D3FFB9-CD19-4B38-8C4D-FE7250BA4220}"/>
                </a:ext>
              </a:extLst>
            </p:cNvPr>
            <p:cNvSpPr/>
            <p:nvPr/>
          </p:nvSpPr>
          <p:spPr>
            <a:xfrm>
              <a:off x="7926997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DCB12E43-EDEE-42E1-8DCB-2780B2BE36CD}"/>
                </a:ext>
              </a:extLst>
            </p:cNvPr>
            <p:cNvSpPr/>
            <p:nvPr/>
          </p:nvSpPr>
          <p:spPr>
            <a:xfrm>
              <a:off x="8607749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ED96145D-F364-4FA7-9A14-D1ABAE38FB39}"/>
                </a:ext>
              </a:extLst>
            </p:cNvPr>
            <p:cNvSpPr/>
            <p:nvPr/>
          </p:nvSpPr>
          <p:spPr>
            <a:xfrm>
              <a:off x="9288500" y="2481044"/>
              <a:ext cx="336565" cy="702337"/>
            </a:xfrm>
            <a:custGeom>
              <a:avLst/>
              <a:gdLst>
                <a:gd name="connsiteX0" fmla="*/ 167648 w 336565"/>
                <a:gd name="connsiteY0" fmla="*/ 116845 h 702337"/>
                <a:gd name="connsiteX1" fmla="*/ 167648 w 336565"/>
                <a:gd name="connsiteY1" fmla="*/ 351169 h 702337"/>
                <a:gd name="connsiteX2" fmla="*/ 336566 w 336565"/>
                <a:gd name="connsiteY2" fmla="*/ 468649 h 702337"/>
                <a:gd name="connsiteX3" fmla="*/ 336566 w 336565"/>
                <a:gd name="connsiteY3" fmla="*/ 702338 h 702337"/>
                <a:gd name="connsiteX4" fmla="*/ 0 w 336565"/>
                <a:gd name="connsiteY4" fmla="*/ 468649 h 702337"/>
                <a:gd name="connsiteX5" fmla="*/ 0 w 336565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7">
                  <a:moveTo>
                    <a:pt x="167648" y="116845"/>
                  </a:move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7AE77DD9-96FE-4C7A-A814-29E2013D8011}"/>
                </a:ext>
              </a:extLst>
            </p:cNvPr>
            <p:cNvSpPr/>
            <p:nvPr/>
          </p:nvSpPr>
          <p:spPr>
            <a:xfrm>
              <a:off x="9968617" y="2481044"/>
              <a:ext cx="337200" cy="702337"/>
            </a:xfrm>
            <a:custGeom>
              <a:avLst/>
              <a:gdLst>
                <a:gd name="connsiteX0" fmla="*/ 168283 w 337200"/>
                <a:gd name="connsiteY0" fmla="*/ 116845 h 702337"/>
                <a:gd name="connsiteX1" fmla="*/ 168283 w 337200"/>
                <a:gd name="connsiteY1" fmla="*/ 351169 h 702337"/>
                <a:gd name="connsiteX2" fmla="*/ 337201 w 337200"/>
                <a:gd name="connsiteY2" fmla="*/ 468649 h 702337"/>
                <a:gd name="connsiteX3" fmla="*/ 337201 w 337200"/>
                <a:gd name="connsiteY3" fmla="*/ 702338 h 702337"/>
                <a:gd name="connsiteX4" fmla="*/ 0 w 337200"/>
                <a:gd name="connsiteY4" fmla="*/ 468649 h 702337"/>
                <a:gd name="connsiteX5" fmla="*/ 0 w 337200"/>
                <a:gd name="connsiteY5" fmla="*/ 0 h 70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7">
                  <a:moveTo>
                    <a:pt x="168283" y="116845"/>
                  </a:move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53E11C83-5B65-40E3-B352-E004406309AC}"/>
                </a:ext>
              </a:extLst>
            </p:cNvPr>
            <p:cNvSpPr/>
            <p:nvPr/>
          </p:nvSpPr>
          <p:spPr>
            <a:xfrm>
              <a:off x="10308993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6E1DBF3-84FA-402E-9E19-09A3560CCCFB}"/>
                </a:ext>
              </a:extLst>
            </p:cNvPr>
            <p:cNvSpPr/>
            <p:nvPr/>
          </p:nvSpPr>
          <p:spPr>
            <a:xfrm>
              <a:off x="9968617" y="3427232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635 w 337200"/>
                <a:gd name="connsiteY1" fmla="*/ 466108 h 466108"/>
                <a:gd name="connsiteX2" fmla="*/ 0 w 337200"/>
                <a:gd name="connsiteY2" fmla="*/ 231784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635" y="466108"/>
                  </a:lnTo>
                  <a:lnTo>
                    <a:pt x="0" y="231784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7CA5F8E1-F2CF-45CF-B32F-378A09914289}"/>
                </a:ext>
              </a:extLst>
            </p:cNvPr>
            <p:cNvSpPr/>
            <p:nvPr/>
          </p:nvSpPr>
          <p:spPr>
            <a:xfrm>
              <a:off x="6225117" y="2717273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C827B525-BAAD-415A-844C-438FA2C616B6}"/>
                </a:ext>
              </a:extLst>
            </p:cNvPr>
            <p:cNvSpPr/>
            <p:nvPr/>
          </p:nvSpPr>
          <p:spPr>
            <a:xfrm>
              <a:off x="6226387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8471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8471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B9182623-8EE2-4FAB-A33F-DE36638F85B4}"/>
                </a:ext>
              </a:extLst>
            </p:cNvPr>
            <p:cNvSpPr/>
            <p:nvPr/>
          </p:nvSpPr>
          <p:spPr>
            <a:xfrm>
              <a:off x="6905869" y="2717273"/>
              <a:ext cx="164472" cy="227974"/>
            </a:xfrm>
            <a:custGeom>
              <a:avLst/>
              <a:gdLst>
                <a:gd name="connsiteX0" fmla="*/ 164473 w 164472"/>
                <a:gd name="connsiteY0" fmla="*/ 114940 h 227974"/>
                <a:gd name="connsiteX1" fmla="*/ 0 w 164472"/>
                <a:gd name="connsiteY1" fmla="*/ 227974 h 227974"/>
                <a:gd name="connsiteX2" fmla="*/ 0 w 164472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164473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C14EA703-DDD1-445F-8CD5-0F5E5B8416BA}"/>
                </a:ext>
              </a:extLst>
            </p:cNvPr>
            <p:cNvSpPr/>
            <p:nvPr/>
          </p:nvSpPr>
          <p:spPr>
            <a:xfrm>
              <a:off x="6907139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1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656AF480-FF2E-4FAD-9EC4-B0AA3D7F9571}"/>
                </a:ext>
              </a:extLst>
            </p:cNvPr>
            <p:cNvSpPr/>
            <p:nvPr/>
          </p:nvSpPr>
          <p:spPr>
            <a:xfrm>
              <a:off x="7586621" y="2717273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3 w 164472"/>
                <a:gd name="connsiteY1" fmla="*/ 114940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3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C4D952BF-2AA5-49E2-8574-91E84C6D103B}"/>
                </a:ext>
              </a:extLst>
            </p:cNvPr>
            <p:cNvSpPr/>
            <p:nvPr/>
          </p:nvSpPr>
          <p:spPr>
            <a:xfrm>
              <a:off x="7587891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9CF4C8FC-76FE-4349-911B-472FD131DFFB}"/>
                </a:ext>
              </a:extLst>
            </p:cNvPr>
            <p:cNvSpPr/>
            <p:nvPr/>
          </p:nvSpPr>
          <p:spPr>
            <a:xfrm>
              <a:off x="8267372" y="2717273"/>
              <a:ext cx="163837" cy="227974"/>
            </a:xfrm>
            <a:custGeom>
              <a:avLst/>
              <a:gdLst>
                <a:gd name="connsiteX0" fmla="*/ 0 w 163837"/>
                <a:gd name="connsiteY0" fmla="*/ 0 h 227974"/>
                <a:gd name="connsiteX1" fmla="*/ 163838 w 163837"/>
                <a:gd name="connsiteY1" fmla="*/ 114940 h 227974"/>
                <a:gd name="connsiteX2" fmla="*/ 0 w 163837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0" y="0"/>
                  </a:moveTo>
                  <a:lnTo>
                    <a:pt x="163838" y="114940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15852022-E13D-461C-B03B-B9785E4224BE}"/>
                </a:ext>
              </a:extLst>
            </p:cNvPr>
            <p:cNvSpPr/>
            <p:nvPr/>
          </p:nvSpPr>
          <p:spPr>
            <a:xfrm>
              <a:off x="8268643" y="2952868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0534 h 351168"/>
                <a:gd name="connsiteX3" fmla="*/ 337836 w 674401"/>
                <a:gd name="connsiteY3" fmla="*/ 234324 h 351168"/>
                <a:gd name="connsiteX4" fmla="*/ 337201 w 674401"/>
                <a:gd name="connsiteY4" fmla="*/ 233689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9DCB2652-C20B-4A50-9717-F307D4448256}"/>
                </a:ext>
              </a:extLst>
            </p:cNvPr>
            <p:cNvSpPr/>
            <p:nvPr/>
          </p:nvSpPr>
          <p:spPr>
            <a:xfrm>
              <a:off x="8948124" y="2717273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20DDCA67-7550-4725-96AE-AAC68D69ECCE}"/>
                </a:ext>
              </a:extLst>
            </p:cNvPr>
            <p:cNvSpPr/>
            <p:nvPr/>
          </p:nvSpPr>
          <p:spPr>
            <a:xfrm>
              <a:off x="8949395" y="2952868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9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9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9C4A2BD7-A29F-43FD-A0D0-EA3CFF8A676D}"/>
                </a:ext>
              </a:extLst>
            </p:cNvPr>
            <p:cNvSpPr/>
            <p:nvPr/>
          </p:nvSpPr>
          <p:spPr>
            <a:xfrm>
              <a:off x="9628876" y="2717273"/>
              <a:ext cx="163837" cy="227974"/>
            </a:xfrm>
            <a:custGeom>
              <a:avLst/>
              <a:gdLst>
                <a:gd name="connsiteX0" fmla="*/ 163838 w 163837"/>
                <a:gd name="connsiteY0" fmla="*/ 114940 h 227974"/>
                <a:gd name="connsiteX1" fmla="*/ 0 w 163837"/>
                <a:gd name="connsiteY1" fmla="*/ 227974 h 227974"/>
                <a:gd name="connsiteX2" fmla="*/ 0 w 163837"/>
                <a:gd name="connsiteY2" fmla="*/ 0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974">
                  <a:moveTo>
                    <a:pt x="163838" y="114940"/>
                  </a:moveTo>
                  <a:lnTo>
                    <a:pt x="0" y="22797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C9B631A0-07CE-4731-BF18-13663077CBAC}"/>
                </a:ext>
              </a:extLst>
            </p:cNvPr>
            <p:cNvSpPr/>
            <p:nvPr/>
          </p:nvSpPr>
          <p:spPr>
            <a:xfrm>
              <a:off x="9630146" y="2952868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6 w 673766"/>
                <a:gd name="connsiteY1" fmla="*/ 234324 h 351168"/>
                <a:gd name="connsiteX2" fmla="*/ 506118 w 673766"/>
                <a:gd name="connsiteY2" fmla="*/ 350534 h 351168"/>
                <a:gd name="connsiteX3" fmla="*/ 337836 w 673766"/>
                <a:gd name="connsiteY3" fmla="*/ 234324 h 351168"/>
                <a:gd name="connsiteX4" fmla="*/ 337201 w 673766"/>
                <a:gd name="connsiteY4" fmla="*/ 233689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6" y="234324"/>
                  </a:lnTo>
                  <a:lnTo>
                    <a:pt x="506118" y="350534"/>
                  </a:lnTo>
                  <a:lnTo>
                    <a:pt x="337836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5E9EF1EC-6FED-481E-AD90-49EB598CE6B4}"/>
                </a:ext>
              </a:extLst>
            </p:cNvPr>
            <p:cNvSpPr/>
            <p:nvPr/>
          </p:nvSpPr>
          <p:spPr>
            <a:xfrm>
              <a:off x="6225117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33C0CB7A-776D-4270-81F1-A6DF4E36A0B5}"/>
                </a:ext>
              </a:extLst>
            </p:cNvPr>
            <p:cNvSpPr/>
            <p:nvPr/>
          </p:nvSpPr>
          <p:spPr>
            <a:xfrm>
              <a:off x="6905869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9A92C8F4-3F89-410B-95DE-14889E61C6BE}"/>
                </a:ext>
              </a:extLst>
            </p:cNvPr>
            <p:cNvSpPr/>
            <p:nvPr/>
          </p:nvSpPr>
          <p:spPr>
            <a:xfrm>
              <a:off x="7586621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B818EB59-386E-4B12-9DB5-67BBFF1F8319}"/>
                </a:ext>
              </a:extLst>
            </p:cNvPr>
            <p:cNvSpPr/>
            <p:nvPr/>
          </p:nvSpPr>
          <p:spPr>
            <a:xfrm>
              <a:off x="8267372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315AB366-349E-4A15-980A-C66B3E374AE5}"/>
                </a:ext>
              </a:extLst>
            </p:cNvPr>
            <p:cNvSpPr/>
            <p:nvPr/>
          </p:nvSpPr>
          <p:spPr>
            <a:xfrm>
              <a:off x="8948124" y="3190367"/>
              <a:ext cx="336565" cy="702973"/>
            </a:xfrm>
            <a:custGeom>
              <a:avLst/>
              <a:gdLst>
                <a:gd name="connsiteX0" fmla="*/ 167648 w 336565"/>
                <a:gd name="connsiteY0" fmla="*/ 116845 h 702973"/>
                <a:gd name="connsiteX1" fmla="*/ 167648 w 336565"/>
                <a:gd name="connsiteY1" fmla="*/ 351804 h 702973"/>
                <a:gd name="connsiteX2" fmla="*/ 336566 w 336565"/>
                <a:gd name="connsiteY2" fmla="*/ 468649 h 702973"/>
                <a:gd name="connsiteX3" fmla="*/ 336566 w 336565"/>
                <a:gd name="connsiteY3" fmla="*/ 702973 h 702973"/>
                <a:gd name="connsiteX4" fmla="*/ 0 w 336565"/>
                <a:gd name="connsiteY4" fmla="*/ 468649 h 702973"/>
                <a:gd name="connsiteX5" fmla="*/ 0 w 336565"/>
                <a:gd name="connsiteY5" fmla="*/ 0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167648" y="116845"/>
                  </a:move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lnTo>
                    <a:pt x="0" y="46864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2E4FEECF-D566-4EF9-9F40-7441FCF227E7}"/>
                </a:ext>
              </a:extLst>
            </p:cNvPr>
            <p:cNvSpPr/>
            <p:nvPr/>
          </p:nvSpPr>
          <p:spPr>
            <a:xfrm>
              <a:off x="5884741" y="3427232"/>
              <a:ext cx="164472" cy="227339"/>
            </a:xfrm>
            <a:custGeom>
              <a:avLst/>
              <a:gdLst>
                <a:gd name="connsiteX0" fmla="*/ 164473 w 164472"/>
                <a:gd name="connsiteY0" fmla="*/ 114305 h 227339"/>
                <a:gd name="connsiteX1" fmla="*/ 0 w 164472"/>
                <a:gd name="connsiteY1" fmla="*/ 227339 h 227339"/>
                <a:gd name="connsiteX2" fmla="*/ 0 w 164472"/>
                <a:gd name="connsiteY2" fmla="*/ 0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164473" y="114305"/>
                  </a:moveTo>
                  <a:lnTo>
                    <a:pt x="0" y="22733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1D5CB6F7-A3EA-4CEE-B3D7-FB78F807AD60}"/>
                </a:ext>
              </a:extLst>
            </p:cNvPr>
            <p:cNvSpPr/>
            <p:nvPr/>
          </p:nvSpPr>
          <p:spPr>
            <a:xfrm>
              <a:off x="5886011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1169 h 351168"/>
                <a:gd name="connsiteX3" fmla="*/ 338471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A939BB36-07EC-4783-A4E8-AE8255F5B50D}"/>
                </a:ext>
              </a:extLst>
            </p:cNvPr>
            <p:cNvSpPr/>
            <p:nvPr/>
          </p:nvSpPr>
          <p:spPr>
            <a:xfrm>
              <a:off x="6565493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D62041A5-7F3C-4724-8B71-ADC54CF542C9}"/>
                </a:ext>
              </a:extLst>
            </p:cNvPr>
            <p:cNvSpPr/>
            <p:nvPr/>
          </p:nvSpPr>
          <p:spPr>
            <a:xfrm>
              <a:off x="6566763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1169 h 351168"/>
                <a:gd name="connsiteX3" fmla="*/ 338471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8471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22174C58-9A55-4DFF-A8DD-EF28CD3172A7}"/>
                </a:ext>
              </a:extLst>
            </p:cNvPr>
            <p:cNvSpPr/>
            <p:nvPr/>
          </p:nvSpPr>
          <p:spPr>
            <a:xfrm>
              <a:off x="7246245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CF433F85-2DC9-40D4-BC50-64D8C503C675}"/>
                </a:ext>
              </a:extLst>
            </p:cNvPr>
            <p:cNvSpPr/>
            <p:nvPr/>
          </p:nvSpPr>
          <p:spPr>
            <a:xfrm>
              <a:off x="7247515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2 w 674401"/>
                <a:gd name="connsiteY1" fmla="*/ 234324 h 351168"/>
                <a:gd name="connsiteX2" fmla="*/ 506754 w 674401"/>
                <a:gd name="connsiteY2" fmla="*/ 351169 h 351168"/>
                <a:gd name="connsiteX3" fmla="*/ 337836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2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A6F42F1D-BE28-4EF4-A16B-D397405FB47D}"/>
                </a:ext>
              </a:extLst>
            </p:cNvPr>
            <p:cNvSpPr/>
            <p:nvPr/>
          </p:nvSpPr>
          <p:spPr>
            <a:xfrm>
              <a:off x="7926997" y="3427232"/>
              <a:ext cx="163837" cy="227339"/>
            </a:xfrm>
            <a:custGeom>
              <a:avLst/>
              <a:gdLst>
                <a:gd name="connsiteX0" fmla="*/ 163838 w 163837"/>
                <a:gd name="connsiteY0" fmla="*/ 114305 h 227339"/>
                <a:gd name="connsiteX1" fmla="*/ 0 w 163837"/>
                <a:gd name="connsiteY1" fmla="*/ 227339 h 227339"/>
                <a:gd name="connsiteX2" fmla="*/ 0 w 163837"/>
                <a:gd name="connsiteY2" fmla="*/ 0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163838" y="114305"/>
                  </a:moveTo>
                  <a:lnTo>
                    <a:pt x="0" y="22733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B9BC24A7-2176-443A-9319-C3011B41334B}"/>
                </a:ext>
              </a:extLst>
            </p:cNvPr>
            <p:cNvSpPr/>
            <p:nvPr/>
          </p:nvSpPr>
          <p:spPr>
            <a:xfrm>
              <a:off x="7928267" y="3662191"/>
              <a:ext cx="674401" cy="351168"/>
            </a:xfrm>
            <a:custGeom>
              <a:avLst/>
              <a:gdLst>
                <a:gd name="connsiteX0" fmla="*/ 337201 w 674401"/>
                <a:gd name="connsiteY0" fmla="*/ 0 h 351168"/>
                <a:gd name="connsiteX1" fmla="*/ 674401 w 674401"/>
                <a:gd name="connsiteY1" fmla="*/ 234324 h 351168"/>
                <a:gd name="connsiteX2" fmla="*/ 506754 w 674401"/>
                <a:gd name="connsiteY2" fmla="*/ 351169 h 351168"/>
                <a:gd name="connsiteX3" fmla="*/ 337836 w 674401"/>
                <a:gd name="connsiteY3" fmla="*/ 234959 h 351168"/>
                <a:gd name="connsiteX4" fmla="*/ 337201 w 674401"/>
                <a:gd name="connsiteY4" fmla="*/ 234324 h 351168"/>
                <a:gd name="connsiteX5" fmla="*/ 168283 w 674401"/>
                <a:gd name="connsiteY5" fmla="*/ 351169 h 351168"/>
                <a:gd name="connsiteX6" fmla="*/ 0 w 674401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7201" y="0"/>
                  </a:moveTo>
                  <a:lnTo>
                    <a:pt x="674401" y="234324"/>
                  </a:lnTo>
                  <a:lnTo>
                    <a:pt x="506754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1105A2E3-EEB4-4481-A906-DF128DBB8556}"/>
                </a:ext>
              </a:extLst>
            </p:cNvPr>
            <p:cNvSpPr/>
            <p:nvPr/>
          </p:nvSpPr>
          <p:spPr>
            <a:xfrm>
              <a:off x="8607749" y="3427232"/>
              <a:ext cx="163837" cy="227339"/>
            </a:xfrm>
            <a:custGeom>
              <a:avLst/>
              <a:gdLst>
                <a:gd name="connsiteX0" fmla="*/ 163838 w 163837"/>
                <a:gd name="connsiteY0" fmla="*/ 114305 h 227339"/>
                <a:gd name="connsiteX1" fmla="*/ 0 w 163837"/>
                <a:gd name="connsiteY1" fmla="*/ 227339 h 227339"/>
                <a:gd name="connsiteX2" fmla="*/ 0 w 163837"/>
                <a:gd name="connsiteY2" fmla="*/ 0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163838" y="114305"/>
                  </a:moveTo>
                  <a:lnTo>
                    <a:pt x="0" y="22733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F3CC5313-F00E-46ED-9935-39DE41DD1D05}"/>
                </a:ext>
              </a:extLst>
            </p:cNvPr>
            <p:cNvSpPr/>
            <p:nvPr/>
          </p:nvSpPr>
          <p:spPr>
            <a:xfrm>
              <a:off x="8609018" y="3662191"/>
              <a:ext cx="673766" cy="351168"/>
            </a:xfrm>
            <a:custGeom>
              <a:avLst/>
              <a:gdLst>
                <a:gd name="connsiteX0" fmla="*/ 337201 w 673766"/>
                <a:gd name="connsiteY0" fmla="*/ 0 h 351168"/>
                <a:gd name="connsiteX1" fmla="*/ 673767 w 673766"/>
                <a:gd name="connsiteY1" fmla="*/ 234324 h 351168"/>
                <a:gd name="connsiteX2" fmla="*/ 506119 w 673766"/>
                <a:gd name="connsiteY2" fmla="*/ 351169 h 351168"/>
                <a:gd name="connsiteX3" fmla="*/ 337836 w 673766"/>
                <a:gd name="connsiteY3" fmla="*/ 234959 h 351168"/>
                <a:gd name="connsiteX4" fmla="*/ 337201 w 673766"/>
                <a:gd name="connsiteY4" fmla="*/ 234324 h 351168"/>
                <a:gd name="connsiteX5" fmla="*/ 168283 w 673766"/>
                <a:gd name="connsiteY5" fmla="*/ 351169 h 351168"/>
                <a:gd name="connsiteX6" fmla="*/ 0 w 673766"/>
                <a:gd name="connsiteY6" fmla="*/ 23432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201" y="0"/>
                  </a:moveTo>
                  <a:lnTo>
                    <a:pt x="673767" y="234324"/>
                  </a:lnTo>
                  <a:lnTo>
                    <a:pt x="506119" y="351169"/>
                  </a:lnTo>
                  <a:lnTo>
                    <a:pt x="337836" y="234959"/>
                  </a:ln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2A70D793-87DE-4F81-8F0A-B87F7AD5AF59}"/>
                </a:ext>
              </a:extLst>
            </p:cNvPr>
            <p:cNvSpPr/>
            <p:nvPr/>
          </p:nvSpPr>
          <p:spPr>
            <a:xfrm>
              <a:off x="9288500" y="3427232"/>
              <a:ext cx="163837" cy="227339"/>
            </a:xfrm>
            <a:custGeom>
              <a:avLst/>
              <a:gdLst>
                <a:gd name="connsiteX0" fmla="*/ 0 w 163837"/>
                <a:gd name="connsiteY0" fmla="*/ 0 h 227339"/>
                <a:gd name="connsiteX1" fmla="*/ 163838 w 163837"/>
                <a:gd name="connsiteY1" fmla="*/ 114305 h 227339"/>
                <a:gd name="connsiteX2" fmla="*/ 0 w 163837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37" h="227339">
                  <a:moveTo>
                    <a:pt x="0" y="0"/>
                  </a:moveTo>
                  <a:lnTo>
                    <a:pt x="163838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0F1D6452-3A21-4400-9D41-9F01D2775F61}"/>
                </a:ext>
              </a:extLst>
            </p:cNvPr>
            <p:cNvSpPr/>
            <p:nvPr/>
          </p:nvSpPr>
          <p:spPr>
            <a:xfrm>
              <a:off x="9289770" y="3662191"/>
              <a:ext cx="673766" cy="351168"/>
            </a:xfrm>
            <a:custGeom>
              <a:avLst/>
              <a:gdLst>
                <a:gd name="connsiteX0" fmla="*/ 337836 w 673766"/>
                <a:gd name="connsiteY0" fmla="*/ 234959 h 351168"/>
                <a:gd name="connsiteX1" fmla="*/ 337201 w 673766"/>
                <a:gd name="connsiteY1" fmla="*/ 234324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7201 w 673766"/>
                <a:gd name="connsiteY4" fmla="*/ 0 h 351168"/>
                <a:gd name="connsiteX5" fmla="*/ 673767 w 673766"/>
                <a:gd name="connsiteY5" fmla="*/ 234324 h 351168"/>
                <a:gd name="connsiteX6" fmla="*/ 506119 w 673766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959"/>
                  </a:move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3767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774C12C6-603B-4637-83A0-D155265A823C}"/>
                </a:ext>
              </a:extLst>
            </p:cNvPr>
            <p:cNvSpPr/>
            <p:nvPr/>
          </p:nvSpPr>
          <p:spPr>
            <a:xfrm>
              <a:off x="9288500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2F1D8781-0394-4F3C-B730-5BEC4575B2A2}"/>
                </a:ext>
              </a:extLst>
            </p:cNvPr>
            <p:cNvSpPr/>
            <p:nvPr/>
          </p:nvSpPr>
          <p:spPr>
            <a:xfrm>
              <a:off x="9289770" y="3307847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4 h 231149"/>
                <a:gd name="connsiteX2" fmla="*/ 165743 w 333390"/>
                <a:gd name="connsiteY2" fmla="*/ 0 h 231149"/>
                <a:gd name="connsiteX3" fmla="*/ 333391 w 333390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4"/>
                  </a:lnTo>
                  <a:lnTo>
                    <a:pt x="165743" y="0"/>
                  </a:lnTo>
                  <a:lnTo>
                    <a:pt x="333391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AAAC85FC-F0B0-4EBE-8393-DB8FB46BCABA}"/>
                </a:ext>
              </a:extLst>
            </p:cNvPr>
            <p:cNvSpPr/>
            <p:nvPr/>
          </p:nvSpPr>
          <p:spPr>
            <a:xfrm>
              <a:off x="9119582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9C99AAD3-E85A-4053-AFB8-4CAF981BAD2C}"/>
                </a:ext>
              </a:extLst>
            </p:cNvPr>
            <p:cNvSpPr/>
            <p:nvPr/>
          </p:nvSpPr>
          <p:spPr>
            <a:xfrm>
              <a:off x="8607749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A02A5EF0-D6FD-47C1-8EE2-249D61B33AA3}"/>
                </a:ext>
              </a:extLst>
            </p:cNvPr>
            <p:cNvSpPr/>
            <p:nvPr/>
          </p:nvSpPr>
          <p:spPr>
            <a:xfrm>
              <a:off x="8609018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6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6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0E674B08-9323-44DD-8010-D2A6EC32F530}"/>
                </a:ext>
              </a:extLst>
            </p:cNvPr>
            <p:cNvSpPr/>
            <p:nvPr/>
          </p:nvSpPr>
          <p:spPr>
            <a:xfrm>
              <a:off x="8438830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946BBEF1-267C-4AD1-B85E-A4FBE21362EB}"/>
                </a:ext>
              </a:extLst>
            </p:cNvPr>
            <p:cNvSpPr/>
            <p:nvPr/>
          </p:nvSpPr>
          <p:spPr>
            <a:xfrm>
              <a:off x="7926997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13A23F61-F056-4D12-8B05-D563E7048BA1}"/>
                </a:ext>
              </a:extLst>
            </p:cNvPr>
            <p:cNvSpPr/>
            <p:nvPr/>
          </p:nvSpPr>
          <p:spPr>
            <a:xfrm>
              <a:off x="7928267" y="3307847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4 h 231149"/>
                <a:gd name="connsiteX2" fmla="*/ 166377 w 334025"/>
                <a:gd name="connsiteY2" fmla="*/ 0 h 231149"/>
                <a:gd name="connsiteX3" fmla="*/ 334025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4"/>
                  </a:lnTo>
                  <a:lnTo>
                    <a:pt x="166377" y="0"/>
                  </a:lnTo>
                  <a:lnTo>
                    <a:pt x="334025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6FE04AAF-6A69-46B2-9D71-250F4020D579}"/>
                </a:ext>
              </a:extLst>
            </p:cNvPr>
            <p:cNvSpPr/>
            <p:nvPr/>
          </p:nvSpPr>
          <p:spPr>
            <a:xfrm>
              <a:off x="7758079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5BA43401-1218-45DB-83FD-7702F0E63617}"/>
                </a:ext>
              </a:extLst>
            </p:cNvPr>
            <p:cNvSpPr/>
            <p:nvPr/>
          </p:nvSpPr>
          <p:spPr>
            <a:xfrm>
              <a:off x="7246245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DE2034FB-C0FD-4E6F-91B7-1A9E6B330395}"/>
                </a:ext>
              </a:extLst>
            </p:cNvPr>
            <p:cNvSpPr/>
            <p:nvPr/>
          </p:nvSpPr>
          <p:spPr>
            <a:xfrm>
              <a:off x="7247515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5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5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4C2B280D-E981-4DD3-8C95-D6E8B75C6BCD}"/>
                </a:ext>
              </a:extLst>
            </p:cNvPr>
            <p:cNvSpPr/>
            <p:nvPr/>
          </p:nvSpPr>
          <p:spPr>
            <a:xfrm>
              <a:off x="7077327" y="3191002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33867644-AA12-4EC2-ADED-D3AF2C07226E}"/>
                </a:ext>
              </a:extLst>
            </p:cNvPr>
            <p:cNvSpPr/>
            <p:nvPr/>
          </p:nvSpPr>
          <p:spPr>
            <a:xfrm>
              <a:off x="6565493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C5F93F10-F0D6-4A82-A903-5CCB76D11F1C}"/>
                </a:ext>
              </a:extLst>
            </p:cNvPr>
            <p:cNvSpPr/>
            <p:nvPr/>
          </p:nvSpPr>
          <p:spPr>
            <a:xfrm>
              <a:off x="6566763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6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6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229F99F4-0E43-4E0E-910F-CCDCDE892330}"/>
                </a:ext>
              </a:extLst>
            </p:cNvPr>
            <p:cNvSpPr/>
            <p:nvPr/>
          </p:nvSpPr>
          <p:spPr>
            <a:xfrm>
              <a:off x="6396575" y="3191002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EE0CE674-AA74-495B-8852-79990673FDD2}"/>
                </a:ext>
              </a:extLst>
            </p:cNvPr>
            <p:cNvSpPr/>
            <p:nvPr/>
          </p:nvSpPr>
          <p:spPr>
            <a:xfrm>
              <a:off x="5884741" y="3427232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8 h 466108"/>
                <a:gd name="connsiteX2" fmla="*/ 0 w 336565"/>
                <a:gd name="connsiteY2" fmla="*/ 231784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8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7F84C14D-69E9-44A9-91A0-58D35CC129CF}"/>
                </a:ext>
              </a:extLst>
            </p:cNvPr>
            <p:cNvSpPr/>
            <p:nvPr/>
          </p:nvSpPr>
          <p:spPr>
            <a:xfrm>
              <a:off x="5886011" y="3307847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4 h 231149"/>
                <a:gd name="connsiteX2" fmla="*/ 166378 w 334025"/>
                <a:gd name="connsiteY2" fmla="*/ 0 h 231149"/>
                <a:gd name="connsiteX3" fmla="*/ 334026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4"/>
                  </a:lnTo>
                  <a:lnTo>
                    <a:pt x="166378" y="0"/>
                  </a:lnTo>
                  <a:lnTo>
                    <a:pt x="334026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07563523-AA85-4FC4-A4F4-03EE190DBCCD}"/>
                </a:ext>
              </a:extLst>
            </p:cNvPr>
            <p:cNvSpPr/>
            <p:nvPr/>
          </p:nvSpPr>
          <p:spPr>
            <a:xfrm>
              <a:off x="5715823" y="3191002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BCAD2BC0-B6ED-48BF-AE2E-0FB290D004E5}"/>
                </a:ext>
              </a:extLst>
            </p:cNvPr>
            <p:cNvSpPr/>
            <p:nvPr/>
          </p:nvSpPr>
          <p:spPr>
            <a:xfrm>
              <a:off x="9628876" y="3190367"/>
              <a:ext cx="336565" cy="702973"/>
            </a:xfrm>
            <a:custGeom>
              <a:avLst/>
              <a:gdLst>
                <a:gd name="connsiteX0" fmla="*/ 0 w 336565"/>
                <a:gd name="connsiteY0" fmla="*/ 468649 h 702973"/>
                <a:gd name="connsiteX1" fmla="*/ 0 w 336565"/>
                <a:gd name="connsiteY1" fmla="*/ 0 h 702973"/>
                <a:gd name="connsiteX2" fmla="*/ 167648 w 336565"/>
                <a:gd name="connsiteY2" fmla="*/ 116845 h 702973"/>
                <a:gd name="connsiteX3" fmla="*/ 167648 w 336565"/>
                <a:gd name="connsiteY3" fmla="*/ 351804 h 702973"/>
                <a:gd name="connsiteX4" fmla="*/ 336566 w 336565"/>
                <a:gd name="connsiteY4" fmla="*/ 468649 h 702973"/>
                <a:gd name="connsiteX5" fmla="*/ 336566 w 336565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0" y="468649"/>
                  </a:moveTo>
                  <a:lnTo>
                    <a:pt x="0" y="0"/>
                  </a:lnTo>
                  <a:lnTo>
                    <a:pt x="167648" y="116845"/>
                  </a:ln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4DF85614-C557-4B3B-A368-FA432ECBF4F4}"/>
                </a:ext>
              </a:extLst>
            </p:cNvPr>
            <p:cNvSpPr/>
            <p:nvPr/>
          </p:nvSpPr>
          <p:spPr>
            <a:xfrm>
              <a:off x="9968617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5D81394A-586B-4F10-A588-2149F3C03127}"/>
                </a:ext>
              </a:extLst>
            </p:cNvPr>
            <p:cNvSpPr/>
            <p:nvPr/>
          </p:nvSpPr>
          <p:spPr>
            <a:xfrm>
              <a:off x="9970522" y="3307847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4 h 231149"/>
                <a:gd name="connsiteX2" fmla="*/ 165743 w 333390"/>
                <a:gd name="connsiteY2" fmla="*/ 0 h 231149"/>
                <a:gd name="connsiteX3" fmla="*/ 333391 w 333390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4"/>
                  </a:lnTo>
                  <a:lnTo>
                    <a:pt x="165743" y="0"/>
                  </a:lnTo>
                  <a:lnTo>
                    <a:pt x="333391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E0FA01CE-7307-4106-B27F-DCCA23FAA253}"/>
                </a:ext>
              </a:extLst>
            </p:cNvPr>
            <p:cNvSpPr/>
            <p:nvPr/>
          </p:nvSpPr>
          <p:spPr>
            <a:xfrm>
              <a:off x="9800334" y="3191002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FBEAD109-E3CE-4F5E-B1E6-F850AB51CEF9}"/>
                </a:ext>
              </a:extLst>
            </p:cNvPr>
            <p:cNvSpPr/>
            <p:nvPr/>
          </p:nvSpPr>
          <p:spPr>
            <a:xfrm>
              <a:off x="9459323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F9991A34-08C6-4F3B-8827-DF28C23D5F41}"/>
                </a:ext>
              </a:extLst>
            </p:cNvPr>
            <p:cNvSpPr/>
            <p:nvPr/>
          </p:nvSpPr>
          <p:spPr>
            <a:xfrm>
              <a:off x="8778571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96A6F7FB-8246-4F98-88D7-40836ECECC83}"/>
                </a:ext>
              </a:extLst>
            </p:cNvPr>
            <p:cNvSpPr/>
            <p:nvPr/>
          </p:nvSpPr>
          <p:spPr>
            <a:xfrm>
              <a:off x="8097819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36370102-4813-4D57-B4DB-53E6B01F152F}"/>
                </a:ext>
              </a:extLst>
            </p:cNvPr>
            <p:cNvSpPr/>
            <p:nvPr/>
          </p:nvSpPr>
          <p:spPr>
            <a:xfrm>
              <a:off x="7417068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BBA6BBAC-8562-4F72-83F6-01D58ACEA14D}"/>
                </a:ext>
              </a:extLst>
            </p:cNvPr>
            <p:cNvSpPr/>
            <p:nvPr/>
          </p:nvSpPr>
          <p:spPr>
            <a:xfrm>
              <a:off x="6736316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59C81D27-5AC8-4761-B96B-D61530DF2731}"/>
                </a:ext>
              </a:extLst>
            </p:cNvPr>
            <p:cNvSpPr/>
            <p:nvPr/>
          </p:nvSpPr>
          <p:spPr>
            <a:xfrm>
              <a:off x="6055564" y="3190367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3ECE58F1-342F-4449-A8B2-EAF7572C00F7}"/>
                </a:ext>
              </a:extLst>
            </p:cNvPr>
            <p:cNvSpPr/>
            <p:nvPr/>
          </p:nvSpPr>
          <p:spPr>
            <a:xfrm>
              <a:off x="10139440" y="3190367"/>
              <a:ext cx="166377" cy="229879"/>
            </a:xfrm>
            <a:custGeom>
              <a:avLst/>
              <a:gdLst>
                <a:gd name="connsiteX0" fmla="*/ 0 w 166377"/>
                <a:gd name="connsiteY0" fmla="*/ 115575 h 229879"/>
                <a:gd name="connsiteX1" fmla="*/ 166378 w 166377"/>
                <a:gd name="connsiteY1" fmla="*/ 0 h 229879"/>
                <a:gd name="connsiteX2" fmla="*/ 166378 w 166377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0" y="115575"/>
                  </a:moveTo>
                  <a:lnTo>
                    <a:pt x="166378" y="0"/>
                  </a:lnTo>
                  <a:lnTo>
                    <a:pt x="166378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9685CDF7-98A0-41F9-82BF-A0E2920AC938}"/>
                </a:ext>
              </a:extLst>
            </p:cNvPr>
            <p:cNvSpPr/>
            <p:nvPr/>
          </p:nvSpPr>
          <p:spPr>
            <a:xfrm>
              <a:off x="9628876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2B114F73-3027-48D2-8CE1-B0F88AB3AB13}"/>
                </a:ext>
              </a:extLst>
            </p:cNvPr>
            <p:cNvSpPr/>
            <p:nvPr/>
          </p:nvSpPr>
          <p:spPr>
            <a:xfrm>
              <a:off x="9630146" y="2598524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2C58577A-4B1A-4C40-8FD3-A8082B407BCC}"/>
                </a:ext>
              </a:extLst>
            </p:cNvPr>
            <p:cNvSpPr/>
            <p:nvPr/>
          </p:nvSpPr>
          <p:spPr>
            <a:xfrm>
              <a:off x="9459958" y="2481679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001B54A0-6DD8-4FF2-A586-1F54722672EB}"/>
                </a:ext>
              </a:extLst>
            </p:cNvPr>
            <p:cNvSpPr/>
            <p:nvPr/>
          </p:nvSpPr>
          <p:spPr>
            <a:xfrm>
              <a:off x="8948124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134E9526-3882-4149-94FB-61CCEDFF58A1}"/>
                </a:ext>
              </a:extLst>
            </p:cNvPr>
            <p:cNvSpPr/>
            <p:nvPr/>
          </p:nvSpPr>
          <p:spPr>
            <a:xfrm>
              <a:off x="8949395" y="2598524"/>
              <a:ext cx="334025" cy="231149"/>
            </a:xfrm>
            <a:custGeom>
              <a:avLst/>
              <a:gdLst>
                <a:gd name="connsiteX0" fmla="*/ 165743 w 334025"/>
                <a:gd name="connsiteY0" fmla="*/ 231149 h 231149"/>
                <a:gd name="connsiteX1" fmla="*/ 0 w 334025"/>
                <a:gd name="connsiteY1" fmla="*/ 115575 h 231149"/>
                <a:gd name="connsiteX2" fmla="*/ 165743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AE16586D-39DC-43B8-BFB7-737A8A8B9860}"/>
                </a:ext>
              </a:extLst>
            </p:cNvPr>
            <p:cNvSpPr/>
            <p:nvPr/>
          </p:nvSpPr>
          <p:spPr>
            <a:xfrm>
              <a:off x="8779207" y="2481679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205F0529-BA29-4466-89E0-3E0FFECBCDEC}"/>
                </a:ext>
              </a:extLst>
            </p:cNvPr>
            <p:cNvSpPr/>
            <p:nvPr/>
          </p:nvSpPr>
          <p:spPr>
            <a:xfrm>
              <a:off x="8267372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D6ED1F7A-F39E-417F-BA23-DACEB4ED6ACF}"/>
                </a:ext>
              </a:extLst>
            </p:cNvPr>
            <p:cNvSpPr/>
            <p:nvPr/>
          </p:nvSpPr>
          <p:spPr>
            <a:xfrm>
              <a:off x="8268643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4BA212FF-B362-4351-B7F7-7973F5AE818E}"/>
                </a:ext>
              </a:extLst>
            </p:cNvPr>
            <p:cNvSpPr/>
            <p:nvPr/>
          </p:nvSpPr>
          <p:spPr>
            <a:xfrm>
              <a:off x="8098455" y="2481679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40D28068-E3C3-485A-AC55-7220A97B727E}"/>
                </a:ext>
              </a:extLst>
            </p:cNvPr>
            <p:cNvSpPr/>
            <p:nvPr/>
          </p:nvSpPr>
          <p:spPr>
            <a:xfrm>
              <a:off x="7586621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21FDE1AC-A140-4914-825D-590E24CCB82C}"/>
                </a:ext>
              </a:extLst>
            </p:cNvPr>
            <p:cNvSpPr/>
            <p:nvPr/>
          </p:nvSpPr>
          <p:spPr>
            <a:xfrm>
              <a:off x="7587891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28E97E00-427C-4819-86AA-B171939DC277}"/>
                </a:ext>
              </a:extLst>
            </p:cNvPr>
            <p:cNvSpPr/>
            <p:nvPr/>
          </p:nvSpPr>
          <p:spPr>
            <a:xfrm>
              <a:off x="7417703" y="2481679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3ADC755C-F9F0-4452-9B92-85800B560E21}"/>
                </a:ext>
              </a:extLst>
            </p:cNvPr>
            <p:cNvSpPr/>
            <p:nvPr/>
          </p:nvSpPr>
          <p:spPr>
            <a:xfrm>
              <a:off x="6905869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AD118F9A-85D5-4B12-952B-190584895EC0}"/>
                </a:ext>
              </a:extLst>
            </p:cNvPr>
            <p:cNvSpPr/>
            <p:nvPr/>
          </p:nvSpPr>
          <p:spPr>
            <a:xfrm>
              <a:off x="6907139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8DF3ACF1-84C6-48F6-B683-6FB121110E41}"/>
                </a:ext>
              </a:extLst>
            </p:cNvPr>
            <p:cNvSpPr/>
            <p:nvPr/>
          </p:nvSpPr>
          <p:spPr>
            <a:xfrm>
              <a:off x="6736951" y="2481679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3FB540CF-F034-41E6-8A16-463327EF60D9}"/>
                </a:ext>
              </a:extLst>
            </p:cNvPr>
            <p:cNvSpPr/>
            <p:nvPr/>
          </p:nvSpPr>
          <p:spPr>
            <a:xfrm>
              <a:off x="6225117" y="2717273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BBEDB76A-5014-431B-AD21-144DD9F9A97B}"/>
                </a:ext>
              </a:extLst>
            </p:cNvPr>
            <p:cNvSpPr/>
            <p:nvPr/>
          </p:nvSpPr>
          <p:spPr>
            <a:xfrm>
              <a:off x="6226387" y="2598524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684F3FC6-D392-432F-9B6C-9D843538863B}"/>
                </a:ext>
              </a:extLst>
            </p:cNvPr>
            <p:cNvSpPr/>
            <p:nvPr/>
          </p:nvSpPr>
          <p:spPr>
            <a:xfrm>
              <a:off x="6056199" y="2481679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604EB1E1-3F66-4AEE-A52E-4AA863677FC7}"/>
                </a:ext>
              </a:extLst>
            </p:cNvPr>
            <p:cNvSpPr/>
            <p:nvPr/>
          </p:nvSpPr>
          <p:spPr>
            <a:xfrm>
              <a:off x="9970522" y="3662191"/>
              <a:ext cx="673766" cy="351168"/>
            </a:xfrm>
            <a:custGeom>
              <a:avLst/>
              <a:gdLst>
                <a:gd name="connsiteX0" fmla="*/ 337836 w 673766"/>
                <a:gd name="connsiteY0" fmla="*/ 234959 h 351168"/>
                <a:gd name="connsiteX1" fmla="*/ 336566 w 673766"/>
                <a:gd name="connsiteY1" fmla="*/ 234324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9 w 673766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959"/>
                  </a:moveTo>
                  <a:lnTo>
                    <a:pt x="336566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8C90006C-884A-44DE-B7B0-BBF542823B83}"/>
                </a:ext>
              </a:extLst>
            </p:cNvPr>
            <p:cNvSpPr/>
            <p:nvPr/>
          </p:nvSpPr>
          <p:spPr>
            <a:xfrm>
              <a:off x="10310898" y="2598524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412182C1-AB3B-411B-8F55-17F69748A566}"/>
                </a:ext>
              </a:extLst>
            </p:cNvPr>
            <p:cNvSpPr/>
            <p:nvPr/>
          </p:nvSpPr>
          <p:spPr>
            <a:xfrm>
              <a:off x="10140075" y="2481679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C6E85275-B88D-482F-8B8E-673038966349}"/>
                </a:ext>
              </a:extLst>
            </p:cNvPr>
            <p:cNvSpPr/>
            <p:nvPr/>
          </p:nvSpPr>
          <p:spPr>
            <a:xfrm>
              <a:off x="9799699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2B3B90BF-1B00-4C9D-8E27-E7FA2B091580}"/>
                </a:ext>
              </a:extLst>
            </p:cNvPr>
            <p:cNvSpPr/>
            <p:nvPr/>
          </p:nvSpPr>
          <p:spPr>
            <a:xfrm>
              <a:off x="9118948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FBEDBB7E-C026-498D-9AAA-4DC2E26825F9}"/>
                </a:ext>
              </a:extLst>
            </p:cNvPr>
            <p:cNvSpPr/>
            <p:nvPr/>
          </p:nvSpPr>
          <p:spPr>
            <a:xfrm>
              <a:off x="8438196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04E6CA75-6563-4B35-A322-104587CFE903}"/>
                </a:ext>
              </a:extLst>
            </p:cNvPr>
            <p:cNvSpPr/>
            <p:nvPr/>
          </p:nvSpPr>
          <p:spPr>
            <a:xfrm>
              <a:off x="7757444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9C0BC556-CC8E-48D9-8790-5A6BF0EFD156}"/>
                </a:ext>
              </a:extLst>
            </p:cNvPr>
            <p:cNvSpPr/>
            <p:nvPr/>
          </p:nvSpPr>
          <p:spPr>
            <a:xfrm>
              <a:off x="7076692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A6720D8A-7287-49F4-A6A6-8036480253F8}"/>
                </a:ext>
              </a:extLst>
            </p:cNvPr>
            <p:cNvSpPr/>
            <p:nvPr/>
          </p:nvSpPr>
          <p:spPr>
            <a:xfrm>
              <a:off x="6395940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EBEF756D-C8F2-4A09-8566-D02AF549B1A2}"/>
                </a:ext>
              </a:extLst>
            </p:cNvPr>
            <p:cNvSpPr/>
            <p:nvPr/>
          </p:nvSpPr>
          <p:spPr>
            <a:xfrm>
              <a:off x="5715188" y="2481044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39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39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0CF7F111-8BAE-477A-8AA8-DFBE0817EC8E}"/>
                </a:ext>
              </a:extLst>
            </p:cNvPr>
            <p:cNvSpPr/>
            <p:nvPr/>
          </p:nvSpPr>
          <p:spPr>
            <a:xfrm>
              <a:off x="10308993" y="3190367"/>
              <a:ext cx="337201" cy="702973"/>
            </a:xfrm>
            <a:custGeom>
              <a:avLst/>
              <a:gdLst>
                <a:gd name="connsiteX0" fmla="*/ 0 w 337201"/>
                <a:gd name="connsiteY0" fmla="*/ 468649 h 702973"/>
                <a:gd name="connsiteX1" fmla="*/ 0 w 337201"/>
                <a:gd name="connsiteY1" fmla="*/ 0 h 702973"/>
                <a:gd name="connsiteX2" fmla="*/ 168283 w 337201"/>
                <a:gd name="connsiteY2" fmla="*/ 116845 h 702973"/>
                <a:gd name="connsiteX3" fmla="*/ 168283 w 337201"/>
                <a:gd name="connsiteY3" fmla="*/ 351804 h 702973"/>
                <a:gd name="connsiteX4" fmla="*/ 337201 w 337201"/>
                <a:gd name="connsiteY4" fmla="*/ 468649 h 702973"/>
                <a:gd name="connsiteX5" fmla="*/ 337201 w 337201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1" h="702973">
                  <a:moveTo>
                    <a:pt x="0" y="468649"/>
                  </a:moveTo>
                  <a:lnTo>
                    <a:pt x="0" y="0"/>
                  </a:lnTo>
                  <a:lnTo>
                    <a:pt x="168283" y="116845"/>
                  </a:lnTo>
                  <a:lnTo>
                    <a:pt x="168283" y="351804"/>
                  </a:lnTo>
                  <a:lnTo>
                    <a:pt x="337201" y="468649"/>
                  </a:lnTo>
                  <a:lnTo>
                    <a:pt x="337201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5658C18C-2F05-421A-B49A-D685CBBC0D0D}"/>
                </a:ext>
              </a:extLst>
            </p:cNvPr>
            <p:cNvSpPr/>
            <p:nvPr/>
          </p:nvSpPr>
          <p:spPr>
            <a:xfrm>
              <a:off x="10649369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14C04ACE-AA35-420A-B14E-4A9290E5C1ED}"/>
                </a:ext>
              </a:extLst>
            </p:cNvPr>
            <p:cNvSpPr/>
            <p:nvPr/>
          </p:nvSpPr>
          <p:spPr>
            <a:xfrm>
              <a:off x="10651274" y="3307847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4 h 231149"/>
                <a:gd name="connsiteX2" fmla="*/ 165743 w 333390"/>
                <a:gd name="connsiteY2" fmla="*/ 0 h 231149"/>
                <a:gd name="connsiteX3" fmla="*/ 333390 w 333390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4"/>
                  </a:lnTo>
                  <a:lnTo>
                    <a:pt x="165743" y="0"/>
                  </a:lnTo>
                  <a:lnTo>
                    <a:pt x="333390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40FAFD15-3F82-4DC8-9636-0E3300160E51}"/>
                </a:ext>
              </a:extLst>
            </p:cNvPr>
            <p:cNvSpPr/>
            <p:nvPr/>
          </p:nvSpPr>
          <p:spPr>
            <a:xfrm>
              <a:off x="10480451" y="3191002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859A618E-14D7-464D-82D6-2FEDD6C8CF8E}"/>
                </a:ext>
              </a:extLst>
            </p:cNvPr>
            <p:cNvSpPr/>
            <p:nvPr/>
          </p:nvSpPr>
          <p:spPr>
            <a:xfrm>
              <a:off x="10310898" y="2952868"/>
              <a:ext cx="673766" cy="351168"/>
            </a:xfrm>
            <a:custGeom>
              <a:avLst/>
              <a:gdLst>
                <a:gd name="connsiteX0" fmla="*/ 337836 w 673766"/>
                <a:gd name="connsiteY0" fmla="*/ 234324 h 351168"/>
                <a:gd name="connsiteX1" fmla="*/ 336566 w 673766"/>
                <a:gd name="connsiteY1" fmla="*/ 233689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9 w 673766"/>
                <a:gd name="connsiteY6" fmla="*/ 35053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324"/>
                  </a:moveTo>
                  <a:lnTo>
                    <a:pt x="336566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9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D34519AE-F698-4D70-A61E-89409218FBF5}"/>
                </a:ext>
              </a:extLst>
            </p:cNvPr>
            <p:cNvSpPr/>
            <p:nvPr/>
          </p:nvSpPr>
          <p:spPr>
            <a:xfrm>
              <a:off x="10479816" y="2481044"/>
              <a:ext cx="166377" cy="229244"/>
            </a:xfrm>
            <a:custGeom>
              <a:avLst/>
              <a:gdLst>
                <a:gd name="connsiteX0" fmla="*/ 0 w 166377"/>
                <a:gd name="connsiteY0" fmla="*/ 114939 h 229244"/>
                <a:gd name="connsiteX1" fmla="*/ 166378 w 166377"/>
                <a:gd name="connsiteY1" fmla="*/ 0 h 229244"/>
                <a:gd name="connsiteX2" fmla="*/ 166378 w 166377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244">
                  <a:moveTo>
                    <a:pt x="0" y="114939"/>
                  </a:moveTo>
                  <a:lnTo>
                    <a:pt x="166378" y="0"/>
                  </a:lnTo>
                  <a:lnTo>
                    <a:pt x="166378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B7BF7F4B-8AA0-4A00-9937-617DA37B40E5}"/>
                </a:ext>
              </a:extLst>
            </p:cNvPr>
            <p:cNvSpPr/>
            <p:nvPr/>
          </p:nvSpPr>
          <p:spPr>
            <a:xfrm>
              <a:off x="10649369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A9D6433D-B79B-4FCD-BE3A-AEAF1FBACF68}"/>
                </a:ext>
              </a:extLst>
            </p:cNvPr>
            <p:cNvSpPr/>
            <p:nvPr/>
          </p:nvSpPr>
          <p:spPr>
            <a:xfrm>
              <a:off x="10651274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0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415A1B2E-B04A-48AA-BAAE-3B3351F0A82A}"/>
                </a:ext>
              </a:extLst>
            </p:cNvPr>
            <p:cNvSpPr/>
            <p:nvPr/>
          </p:nvSpPr>
          <p:spPr>
            <a:xfrm>
              <a:off x="10480451" y="1771720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B0BAE090-F6AD-4E9C-90E1-1D722EB7FB0D}"/>
                </a:ext>
              </a:extLst>
            </p:cNvPr>
            <p:cNvSpPr/>
            <p:nvPr/>
          </p:nvSpPr>
          <p:spPr>
            <a:xfrm>
              <a:off x="9968617" y="2007950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635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635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7700CD84-67F2-4A1C-BBF7-9B61332445FE}"/>
                </a:ext>
              </a:extLst>
            </p:cNvPr>
            <p:cNvSpPr/>
            <p:nvPr/>
          </p:nvSpPr>
          <p:spPr>
            <a:xfrm>
              <a:off x="9970522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7C3D6DA5-6646-427C-BBCC-B6D6CC4A2459}"/>
                </a:ext>
              </a:extLst>
            </p:cNvPr>
            <p:cNvSpPr/>
            <p:nvPr/>
          </p:nvSpPr>
          <p:spPr>
            <a:xfrm>
              <a:off x="9800334" y="1771720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947F097E-5035-4E3B-AE70-EE0B1439B9D9}"/>
                </a:ext>
              </a:extLst>
            </p:cNvPr>
            <p:cNvSpPr/>
            <p:nvPr/>
          </p:nvSpPr>
          <p:spPr>
            <a:xfrm>
              <a:off x="9288500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090DF782-79E2-45E2-9B01-858C50E5A428}"/>
                </a:ext>
              </a:extLst>
            </p:cNvPr>
            <p:cNvSpPr/>
            <p:nvPr/>
          </p:nvSpPr>
          <p:spPr>
            <a:xfrm>
              <a:off x="9289770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C0D2BA6E-3D63-4AB6-8788-D7921B4F81A0}"/>
                </a:ext>
              </a:extLst>
            </p:cNvPr>
            <p:cNvSpPr/>
            <p:nvPr/>
          </p:nvSpPr>
          <p:spPr>
            <a:xfrm>
              <a:off x="9119582" y="1771720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4408B3B7-2C21-4298-87CB-FA9098B2B410}"/>
                </a:ext>
              </a:extLst>
            </p:cNvPr>
            <p:cNvSpPr/>
            <p:nvPr/>
          </p:nvSpPr>
          <p:spPr>
            <a:xfrm>
              <a:off x="8607749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219839A4-95CD-4552-A7B0-55E8374B1232}"/>
                </a:ext>
              </a:extLst>
            </p:cNvPr>
            <p:cNvSpPr/>
            <p:nvPr/>
          </p:nvSpPr>
          <p:spPr>
            <a:xfrm>
              <a:off x="8609018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D418929C-34D4-4B95-A6D4-80BC0B831CC4}"/>
                </a:ext>
              </a:extLst>
            </p:cNvPr>
            <p:cNvSpPr/>
            <p:nvPr/>
          </p:nvSpPr>
          <p:spPr>
            <a:xfrm>
              <a:off x="8438830" y="1771720"/>
              <a:ext cx="332755" cy="463568"/>
            </a:xfrm>
            <a:custGeom>
              <a:avLst/>
              <a:gdLst>
                <a:gd name="connsiteX0" fmla="*/ 165743 w 332755"/>
                <a:gd name="connsiteY0" fmla="*/ 231149 h 463568"/>
                <a:gd name="connsiteX1" fmla="*/ 165108 w 332755"/>
                <a:gd name="connsiteY1" fmla="*/ 231784 h 463568"/>
                <a:gd name="connsiteX2" fmla="*/ 165108 w 332755"/>
                <a:gd name="connsiteY2" fmla="*/ 463569 h 463568"/>
                <a:gd name="connsiteX3" fmla="*/ 0 w 332755"/>
                <a:gd name="connsiteY3" fmla="*/ 349264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1336C3F2-3788-4ED5-8F0B-459432342994}"/>
                </a:ext>
              </a:extLst>
            </p:cNvPr>
            <p:cNvSpPr/>
            <p:nvPr/>
          </p:nvSpPr>
          <p:spPr>
            <a:xfrm>
              <a:off x="7926997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6C381483-6210-4302-A8A8-F491FF4BE6D9}"/>
                </a:ext>
              </a:extLst>
            </p:cNvPr>
            <p:cNvSpPr/>
            <p:nvPr/>
          </p:nvSpPr>
          <p:spPr>
            <a:xfrm>
              <a:off x="7928267" y="1888565"/>
              <a:ext cx="334025" cy="231784"/>
            </a:xfrm>
            <a:custGeom>
              <a:avLst/>
              <a:gdLst>
                <a:gd name="connsiteX0" fmla="*/ 166377 w 334025"/>
                <a:gd name="connsiteY0" fmla="*/ 231784 h 231784"/>
                <a:gd name="connsiteX1" fmla="*/ 0 w 334025"/>
                <a:gd name="connsiteY1" fmla="*/ 115575 h 231784"/>
                <a:gd name="connsiteX2" fmla="*/ 166377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7" y="231784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4313E68E-E8CB-4FD5-879C-34E2BEA55701}"/>
                </a:ext>
              </a:extLst>
            </p:cNvPr>
            <p:cNvSpPr/>
            <p:nvPr/>
          </p:nvSpPr>
          <p:spPr>
            <a:xfrm>
              <a:off x="7758079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CEE71169-B49C-4DF0-BD2D-35742295D3AE}"/>
                </a:ext>
              </a:extLst>
            </p:cNvPr>
            <p:cNvSpPr/>
            <p:nvPr/>
          </p:nvSpPr>
          <p:spPr>
            <a:xfrm>
              <a:off x="7246245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3B4411D5-237C-4D18-A7A1-326672BA05CD}"/>
                </a:ext>
              </a:extLst>
            </p:cNvPr>
            <p:cNvSpPr/>
            <p:nvPr/>
          </p:nvSpPr>
          <p:spPr>
            <a:xfrm>
              <a:off x="7247515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921E176D-AC97-499E-8222-13466B445949}"/>
                </a:ext>
              </a:extLst>
            </p:cNvPr>
            <p:cNvSpPr/>
            <p:nvPr/>
          </p:nvSpPr>
          <p:spPr>
            <a:xfrm>
              <a:off x="7077327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4DE4495B-A63C-44F6-B00B-648F7D3D39EC}"/>
                </a:ext>
              </a:extLst>
            </p:cNvPr>
            <p:cNvSpPr/>
            <p:nvPr/>
          </p:nvSpPr>
          <p:spPr>
            <a:xfrm>
              <a:off x="6565493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81FFEF8B-32D5-441E-9096-E84DC45C47B8}"/>
                </a:ext>
              </a:extLst>
            </p:cNvPr>
            <p:cNvSpPr/>
            <p:nvPr/>
          </p:nvSpPr>
          <p:spPr>
            <a:xfrm>
              <a:off x="6566763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CC2AC9E3-847C-470C-BF9A-1710815186F6}"/>
                </a:ext>
              </a:extLst>
            </p:cNvPr>
            <p:cNvSpPr/>
            <p:nvPr/>
          </p:nvSpPr>
          <p:spPr>
            <a:xfrm>
              <a:off x="6396575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87989E59-BF15-41FA-A1AA-2ACD42F0D8D0}"/>
                </a:ext>
              </a:extLst>
            </p:cNvPr>
            <p:cNvSpPr/>
            <p:nvPr/>
          </p:nvSpPr>
          <p:spPr>
            <a:xfrm>
              <a:off x="5884741" y="2007950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FCE73372-C137-4EEB-BE02-689E65EADDD2}"/>
                </a:ext>
              </a:extLst>
            </p:cNvPr>
            <p:cNvSpPr/>
            <p:nvPr/>
          </p:nvSpPr>
          <p:spPr>
            <a:xfrm>
              <a:off x="5886011" y="1888565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0DA39390-856C-4EBA-857B-29E88802B8E2}"/>
                </a:ext>
              </a:extLst>
            </p:cNvPr>
            <p:cNvSpPr/>
            <p:nvPr/>
          </p:nvSpPr>
          <p:spPr>
            <a:xfrm>
              <a:off x="5715823" y="1771720"/>
              <a:ext cx="333390" cy="463568"/>
            </a:xfrm>
            <a:custGeom>
              <a:avLst/>
              <a:gdLst>
                <a:gd name="connsiteX0" fmla="*/ 165743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AEA0E781-D6C0-49FD-9A78-6B92499F47F1}"/>
                </a:ext>
              </a:extLst>
            </p:cNvPr>
            <p:cNvSpPr/>
            <p:nvPr/>
          </p:nvSpPr>
          <p:spPr>
            <a:xfrm>
              <a:off x="10820192" y="3190367"/>
              <a:ext cx="166377" cy="229879"/>
            </a:xfrm>
            <a:custGeom>
              <a:avLst/>
              <a:gdLst>
                <a:gd name="connsiteX0" fmla="*/ 0 w 166377"/>
                <a:gd name="connsiteY0" fmla="*/ 115575 h 229879"/>
                <a:gd name="connsiteX1" fmla="*/ 166378 w 166377"/>
                <a:gd name="connsiteY1" fmla="*/ 0 h 229879"/>
                <a:gd name="connsiteX2" fmla="*/ 166378 w 166377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0" y="115575"/>
                  </a:moveTo>
                  <a:lnTo>
                    <a:pt x="166378" y="0"/>
                  </a:lnTo>
                  <a:lnTo>
                    <a:pt x="166378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9290B643-9950-461D-9380-4F69D7177E69}"/>
                </a:ext>
              </a:extLst>
            </p:cNvPr>
            <p:cNvSpPr/>
            <p:nvPr/>
          </p:nvSpPr>
          <p:spPr>
            <a:xfrm>
              <a:off x="10820192" y="1771085"/>
              <a:ext cx="166377" cy="229879"/>
            </a:xfrm>
            <a:custGeom>
              <a:avLst/>
              <a:gdLst>
                <a:gd name="connsiteX0" fmla="*/ 0 w 166377"/>
                <a:gd name="connsiteY0" fmla="*/ 115575 h 229879"/>
                <a:gd name="connsiteX1" fmla="*/ 166378 w 166377"/>
                <a:gd name="connsiteY1" fmla="*/ 0 h 229879"/>
                <a:gd name="connsiteX2" fmla="*/ 166378 w 166377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0" y="115575"/>
                  </a:moveTo>
                  <a:lnTo>
                    <a:pt x="166378" y="0"/>
                  </a:lnTo>
                  <a:lnTo>
                    <a:pt x="166378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DA490AAC-BEB9-499E-9AEE-67664785080C}"/>
                </a:ext>
              </a:extLst>
            </p:cNvPr>
            <p:cNvSpPr/>
            <p:nvPr/>
          </p:nvSpPr>
          <p:spPr>
            <a:xfrm>
              <a:off x="10139440" y="1771085"/>
              <a:ext cx="166377" cy="229879"/>
            </a:xfrm>
            <a:custGeom>
              <a:avLst/>
              <a:gdLst>
                <a:gd name="connsiteX0" fmla="*/ 166378 w 166377"/>
                <a:gd name="connsiteY0" fmla="*/ 229879 h 229879"/>
                <a:gd name="connsiteX1" fmla="*/ 0 w 166377"/>
                <a:gd name="connsiteY1" fmla="*/ 115575 h 229879"/>
                <a:gd name="connsiteX2" fmla="*/ 166378 w 166377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166378" y="229879"/>
                  </a:moveTo>
                  <a:lnTo>
                    <a:pt x="0" y="115575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220652E1-B7E6-4504-9612-BEEC1FACCED1}"/>
                </a:ext>
              </a:extLst>
            </p:cNvPr>
            <p:cNvSpPr/>
            <p:nvPr/>
          </p:nvSpPr>
          <p:spPr>
            <a:xfrm>
              <a:off x="9459323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D225F6D3-36FA-4C22-B82B-F6CE4A928651}"/>
                </a:ext>
              </a:extLst>
            </p:cNvPr>
            <p:cNvSpPr/>
            <p:nvPr/>
          </p:nvSpPr>
          <p:spPr>
            <a:xfrm>
              <a:off x="8778571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15E443DA-BF7B-4ABC-BAF6-79733290503A}"/>
                </a:ext>
              </a:extLst>
            </p:cNvPr>
            <p:cNvSpPr/>
            <p:nvPr/>
          </p:nvSpPr>
          <p:spPr>
            <a:xfrm>
              <a:off x="8097819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B6CBC8DD-2784-46D7-AE99-6AE7952F289D}"/>
                </a:ext>
              </a:extLst>
            </p:cNvPr>
            <p:cNvSpPr/>
            <p:nvPr/>
          </p:nvSpPr>
          <p:spPr>
            <a:xfrm>
              <a:off x="7417068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3C3E7E2C-FB24-41FA-A72E-43E3E516C424}"/>
                </a:ext>
              </a:extLst>
            </p:cNvPr>
            <p:cNvSpPr/>
            <p:nvPr/>
          </p:nvSpPr>
          <p:spPr>
            <a:xfrm>
              <a:off x="6736316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B9EB99CF-0F22-44C6-B263-2CDDBC1C1FB1}"/>
                </a:ext>
              </a:extLst>
            </p:cNvPr>
            <p:cNvSpPr/>
            <p:nvPr/>
          </p:nvSpPr>
          <p:spPr>
            <a:xfrm>
              <a:off x="6055564" y="1771085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FB2483BC-80A4-4233-9B1E-919CA86D71F3}"/>
                </a:ext>
              </a:extLst>
            </p:cNvPr>
            <p:cNvSpPr/>
            <p:nvPr/>
          </p:nvSpPr>
          <p:spPr>
            <a:xfrm>
              <a:off x="10651274" y="3662191"/>
              <a:ext cx="673766" cy="351168"/>
            </a:xfrm>
            <a:custGeom>
              <a:avLst/>
              <a:gdLst>
                <a:gd name="connsiteX0" fmla="*/ 337836 w 673766"/>
                <a:gd name="connsiteY0" fmla="*/ 234959 h 351168"/>
                <a:gd name="connsiteX1" fmla="*/ 336565 w 673766"/>
                <a:gd name="connsiteY1" fmla="*/ 234324 h 351168"/>
                <a:gd name="connsiteX2" fmla="*/ 168283 w 673766"/>
                <a:gd name="connsiteY2" fmla="*/ 351169 h 351168"/>
                <a:gd name="connsiteX3" fmla="*/ 0 w 673766"/>
                <a:gd name="connsiteY3" fmla="*/ 234324 h 351168"/>
                <a:gd name="connsiteX4" fmla="*/ 336565 w 673766"/>
                <a:gd name="connsiteY4" fmla="*/ 0 h 351168"/>
                <a:gd name="connsiteX5" fmla="*/ 673767 w 673766"/>
                <a:gd name="connsiteY5" fmla="*/ 234324 h 351168"/>
                <a:gd name="connsiteX6" fmla="*/ 506119 w 673766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959"/>
                  </a:moveTo>
                  <a:lnTo>
                    <a:pt x="336565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5" y="0"/>
                  </a:lnTo>
                  <a:lnTo>
                    <a:pt x="673767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78F5CEB4-1AD8-499E-A38B-43F0A704EA12}"/>
                </a:ext>
              </a:extLst>
            </p:cNvPr>
            <p:cNvSpPr/>
            <p:nvPr/>
          </p:nvSpPr>
          <p:spPr>
            <a:xfrm>
              <a:off x="10991650" y="2598524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5088C5F7-92F4-4DC1-87BD-BEF5C87A3675}"/>
                </a:ext>
              </a:extLst>
            </p:cNvPr>
            <p:cNvSpPr/>
            <p:nvPr/>
          </p:nvSpPr>
          <p:spPr>
            <a:xfrm>
              <a:off x="10820827" y="2481679"/>
              <a:ext cx="333390" cy="463568"/>
            </a:xfrm>
            <a:custGeom>
              <a:avLst/>
              <a:gdLst>
                <a:gd name="connsiteX0" fmla="*/ 166377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2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2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3F2885F5-C46D-4388-BA77-9E6DC869D443}"/>
                </a:ext>
              </a:extLst>
            </p:cNvPr>
            <p:cNvSpPr/>
            <p:nvPr/>
          </p:nvSpPr>
          <p:spPr>
            <a:xfrm>
              <a:off x="10651274" y="2242909"/>
              <a:ext cx="673766" cy="351804"/>
            </a:xfrm>
            <a:custGeom>
              <a:avLst/>
              <a:gdLst>
                <a:gd name="connsiteX0" fmla="*/ 337836 w 673766"/>
                <a:gd name="connsiteY0" fmla="*/ 234959 h 351804"/>
                <a:gd name="connsiteX1" fmla="*/ 336565 w 673766"/>
                <a:gd name="connsiteY1" fmla="*/ 234324 h 351804"/>
                <a:gd name="connsiteX2" fmla="*/ 168283 w 673766"/>
                <a:gd name="connsiteY2" fmla="*/ 351804 h 351804"/>
                <a:gd name="connsiteX3" fmla="*/ 0 w 673766"/>
                <a:gd name="connsiteY3" fmla="*/ 234324 h 351804"/>
                <a:gd name="connsiteX4" fmla="*/ 336565 w 673766"/>
                <a:gd name="connsiteY4" fmla="*/ 0 h 351804"/>
                <a:gd name="connsiteX5" fmla="*/ 673767 w 673766"/>
                <a:gd name="connsiteY5" fmla="*/ 234324 h 351804"/>
                <a:gd name="connsiteX6" fmla="*/ 506119 w 673766"/>
                <a:gd name="connsiteY6" fmla="*/ 351169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804">
                  <a:moveTo>
                    <a:pt x="337836" y="234959"/>
                  </a:moveTo>
                  <a:lnTo>
                    <a:pt x="336565" y="234324"/>
                  </a:lnTo>
                  <a:lnTo>
                    <a:pt x="168283" y="351804"/>
                  </a:lnTo>
                  <a:lnTo>
                    <a:pt x="0" y="234324"/>
                  </a:lnTo>
                  <a:lnTo>
                    <a:pt x="336565" y="0"/>
                  </a:lnTo>
                  <a:lnTo>
                    <a:pt x="673767" y="234324"/>
                  </a:lnTo>
                  <a:lnTo>
                    <a:pt x="506119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5394838C-726B-4536-AB33-8679196F9964}"/>
                </a:ext>
              </a:extLst>
            </p:cNvPr>
            <p:cNvSpPr/>
            <p:nvPr/>
          </p:nvSpPr>
          <p:spPr>
            <a:xfrm>
              <a:off x="10991650" y="1179242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BDA7FED4-F82B-44FF-802B-8EF65B1F7331}"/>
                </a:ext>
              </a:extLst>
            </p:cNvPr>
            <p:cNvSpPr/>
            <p:nvPr/>
          </p:nvSpPr>
          <p:spPr>
            <a:xfrm>
              <a:off x="10820827" y="1062397"/>
              <a:ext cx="333390" cy="463568"/>
            </a:xfrm>
            <a:custGeom>
              <a:avLst/>
              <a:gdLst>
                <a:gd name="connsiteX0" fmla="*/ 166377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2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2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726A0C84-2204-49BA-93D7-3B3248D345FC}"/>
                </a:ext>
              </a:extLst>
            </p:cNvPr>
            <p:cNvSpPr/>
            <p:nvPr/>
          </p:nvSpPr>
          <p:spPr>
            <a:xfrm>
              <a:off x="10308993" y="1297991"/>
              <a:ext cx="337201" cy="466108"/>
            </a:xfrm>
            <a:custGeom>
              <a:avLst/>
              <a:gdLst>
                <a:gd name="connsiteX0" fmla="*/ 337201 w 337201"/>
                <a:gd name="connsiteY0" fmla="*/ 232419 h 466108"/>
                <a:gd name="connsiteX1" fmla="*/ 0 w 337201"/>
                <a:gd name="connsiteY1" fmla="*/ 466109 h 466108"/>
                <a:gd name="connsiteX2" fmla="*/ 0 w 337201"/>
                <a:gd name="connsiteY2" fmla="*/ 232419 h 466108"/>
                <a:gd name="connsiteX3" fmla="*/ 337201 w 337201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1" h="466108">
                  <a:moveTo>
                    <a:pt x="337201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3E635761-188E-4625-90AE-2D5178BA45DC}"/>
                </a:ext>
              </a:extLst>
            </p:cNvPr>
            <p:cNvSpPr/>
            <p:nvPr/>
          </p:nvSpPr>
          <p:spPr>
            <a:xfrm>
              <a:off x="10310898" y="1179242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A013CB7C-B780-4CE5-9AF9-DDEB0A3F5C34}"/>
                </a:ext>
              </a:extLst>
            </p:cNvPr>
            <p:cNvSpPr/>
            <p:nvPr/>
          </p:nvSpPr>
          <p:spPr>
            <a:xfrm>
              <a:off x="10140075" y="1062397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743 w 333390"/>
                <a:gd name="connsiteY1" fmla="*/ 231149 h 463568"/>
                <a:gd name="connsiteX2" fmla="*/ 165743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743" y="231149"/>
                  </a:lnTo>
                  <a:lnTo>
                    <a:pt x="165743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EC46F22E-EDE5-406E-AAA7-6233187D2EC7}"/>
                </a:ext>
              </a:extLst>
            </p:cNvPr>
            <p:cNvSpPr/>
            <p:nvPr/>
          </p:nvSpPr>
          <p:spPr>
            <a:xfrm>
              <a:off x="9628876" y="1298626"/>
              <a:ext cx="336565" cy="465473"/>
            </a:xfrm>
            <a:custGeom>
              <a:avLst/>
              <a:gdLst>
                <a:gd name="connsiteX0" fmla="*/ 336566 w 336565"/>
                <a:gd name="connsiteY0" fmla="*/ 231784 h 465473"/>
                <a:gd name="connsiteX1" fmla="*/ 0 w 336565"/>
                <a:gd name="connsiteY1" fmla="*/ 465474 h 465473"/>
                <a:gd name="connsiteX2" fmla="*/ 0 w 336565"/>
                <a:gd name="connsiteY2" fmla="*/ 231784 h 465473"/>
                <a:gd name="connsiteX3" fmla="*/ 336566 w 336565"/>
                <a:gd name="connsiteY3" fmla="*/ 0 h 4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5473">
                  <a:moveTo>
                    <a:pt x="336566" y="231784"/>
                  </a:moveTo>
                  <a:lnTo>
                    <a:pt x="0" y="465474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0D4704EB-2CC1-462A-921E-CD5419C9E24B}"/>
                </a:ext>
              </a:extLst>
            </p:cNvPr>
            <p:cNvSpPr/>
            <p:nvPr/>
          </p:nvSpPr>
          <p:spPr>
            <a:xfrm>
              <a:off x="9630146" y="1179242"/>
              <a:ext cx="333390" cy="231149"/>
            </a:xfrm>
            <a:custGeom>
              <a:avLst/>
              <a:gdLst>
                <a:gd name="connsiteX0" fmla="*/ 165743 w 333390"/>
                <a:gd name="connsiteY0" fmla="*/ 231149 h 231149"/>
                <a:gd name="connsiteX1" fmla="*/ 0 w 333390"/>
                <a:gd name="connsiteY1" fmla="*/ 115575 h 231149"/>
                <a:gd name="connsiteX2" fmla="*/ 165743 w 333390"/>
                <a:gd name="connsiteY2" fmla="*/ 0 h 231149"/>
                <a:gd name="connsiteX3" fmla="*/ 333391 w 333390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92241306-BF89-4574-B30E-A1A971C89A53}"/>
                </a:ext>
              </a:extLst>
            </p:cNvPr>
            <p:cNvSpPr/>
            <p:nvPr/>
          </p:nvSpPr>
          <p:spPr>
            <a:xfrm>
              <a:off x="9459958" y="1062397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6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1CD47B2E-C8D0-4134-9147-ECB9963C8C44}"/>
                </a:ext>
              </a:extLst>
            </p:cNvPr>
            <p:cNvSpPr/>
            <p:nvPr/>
          </p:nvSpPr>
          <p:spPr>
            <a:xfrm>
              <a:off x="8948124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092E866A-9225-4A8A-BEB7-F5E6E8C1869A}"/>
                </a:ext>
              </a:extLst>
            </p:cNvPr>
            <p:cNvSpPr/>
            <p:nvPr/>
          </p:nvSpPr>
          <p:spPr>
            <a:xfrm>
              <a:off x="8949395" y="1179242"/>
              <a:ext cx="334025" cy="231149"/>
            </a:xfrm>
            <a:custGeom>
              <a:avLst/>
              <a:gdLst>
                <a:gd name="connsiteX0" fmla="*/ 165743 w 334025"/>
                <a:gd name="connsiteY0" fmla="*/ 231149 h 231149"/>
                <a:gd name="connsiteX1" fmla="*/ 0 w 334025"/>
                <a:gd name="connsiteY1" fmla="*/ 115575 h 231149"/>
                <a:gd name="connsiteX2" fmla="*/ 165743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5743" y="231149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09B61E4C-45CC-43BA-90D7-AB847D38D22F}"/>
                </a:ext>
              </a:extLst>
            </p:cNvPr>
            <p:cNvSpPr/>
            <p:nvPr/>
          </p:nvSpPr>
          <p:spPr>
            <a:xfrm>
              <a:off x="8779207" y="1062397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9EE45501-7DCF-46F9-BA13-A83F9FB43407}"/>
                </a:ext>
              </a:extLst>
            </p:cNvPr>
            <p:cNvSpPr/>
            <p:nvPr/>
          </p:nvSpPr>
          <p:spPr>
            <a:xfrm>
              <a:off x="8267372" y="1298626"/>
              <a:ext cx="336565" cy="465473"/>
            </a:xfrm>
            <a:custGeom>
              <a:avLst/>
              <a:gdLst>
                <a:gd name="connsiteX0" fmla="*/ 336566 w 336565"/>
                <a:gd name="connsiteY0" fmla="*/ 231784 h 465473"/>
                <a:gd name="connsiteX1" fmla="*/ 0 w 336565"/>
                <a:gd name="connsiteY1" fmla="*/ 465474 h 465473"/>
                <a:gd name="connsiteX2" fmla="*/ 0 w 336565"/>
                <a:gd name="connsiteY2" fmla="*/ 231784 h 465473"/>
                <a:gd name="connsiteX3" fmla="*/ 336566 w 336565"/>
                <a:gd name="connsiteY3" fmla="*/ 0 h 46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5473">
                  <a:moveTo>
                    <a:pt x="336566" y="231784"/>
                  </a:moveTo>
                  <a:lnTo>
                    <a:pt x="0" y="465474"/>
                  </a:lnTo>
                  <a:lnTo>
                    <a:pt x="0" y="231784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C2974C81-C3B4-4067-885A-EC5F81D45CD4}"/>
                </a:ext>
              </a:extLst>
            </p:cNvPr>
            <p:cNvSpPr/>
            <p:nvPr/>
          </p:nvSpPr>
          <p:spPr>
            <a:xfrm>
              <a:off x="8268643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680B1282-20E7-4731-B2CD-7C7DF50BDA07}"/>
                </a:ext>
              </a:extLst>
            </p:cNvPr>
            <p:cNvSpPr/>
            <p:nvPr/>
          </p:nvSpPr>
          <p:spPr>
            <a:xfrm>
              <a:off x="8098455" y="1062397"/>
              <a:ext cx="332755" cy="463568"/>
            </a:xfrm>
            <a:custGeom>
              <a:avLst/>
              <a:gdLst>
                <a:gd name="connsiteX0" fmla="*/ 165743 w 332755"/>
                <a:gd name="connsiteY0" fmla="*/ 230514 h 463568"/>
                <a:gd name="connsiteX1" fmla="*/ 165108 w 332755"/>
                <a:gd name="connsiteY1" fmla="*/ 231149 h 463568"/>
                <a:gd name="connsiteX2" fmla="*/ 165108 w 332755"/>
                <a:gd name="connsiteY2" fmla="*/ 463569 h 463568"/>
                <a:gd name="connsiteX3" fmla="*/ 0 w 332755"/>
                <a:gd name="connsiteY3" fmla="*/ 348629 h 463568"/>
                <a:gd name="connsiteX4" fmla="*/ 0 w 332755"/>
                <a:gd name="connsiteY4" fmla="*/ 116210 h 463568"/>
                <a:gd name="connsiteX5" fmla="*/ 167013 w 332755"/>
                <a:gd name="connsiteY5" fmla="*/ 0 h 463568"/>
                <a:gd name="connsiteX6" fmla="*/ 332755 w 332755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78C85A5E-7E0D-47FB-A598-6F70F9891DB7}"/>
                </a:ext>
              </a:extLst>
            </p:cNvPr>
            <p:cNvSpPr/>
            <p:nvPr/>
          </p:nvSpPr>
          <p:spPr>
            <a:xfrm>
              <a:off x="7586621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6CABB3E5-402A-4B25-9D9A-FD54CA7A36F2}"/>
                </a:ext>
              </a:extLst>
            </p:cNvPr>
            <p:cNvSpPr/>
            <p:nvPr/>
          </p:nvSpPr>
          <p:spPr>
            <a:xfrm>
              <a:off x="7587891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0C542B77-63FE-418B-A1A0-9978155FBDCE}"/>
                </a:ext>
              </a:extLst>
            </p:cNvPr>
            <p:cNvSpPr/>
            <p:nvPr/>
          </p:nvSpPr>
          <p:spPr>
            <a:xfrm>
              <a:off x="7417703" y="1062397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32DF6234-64A4-4B88-8EF7-9A539C72ABD2}"/>
                </a:ext>
              </a:extLst>
            </p:cNvPr>
            <p:cNvSpPr/>
            <p:nvPr/>
          </p:nvSpPr>
          <p:spPr>
            <a:xfrm>
              <a:off x="6905869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C54CCAC2-A35C-4AB0-8A64-4968297D3AD6}"/>
                </a:ext>
              </a:extLst>
            </p:cNvPr>
            <p:cNvSpPr/>
            <p:nvPr/>
          </p:nvSpPr>
          <p:spPr>
            <a:xfrm>
              <a:off x="6907139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1D96D526-5571-48C4-A259-68DB0A45051D}"/>
                </a:ext>
              </a:extLst>
            </p:cNvPr>
            <p:cNvSpPr/>
            <p:nvPr/>
          </p:nvSpPr>
          <p:spPr>
            <a:xfrm>
              <a:off x="6736951" y="1062397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240058E2-1BD2-4B3C-B2E7-D838D04B2CA2}"/>
                </a:ext>
              </a:extLst>
            </p:cNvPr>
            <p:cNvSpPr/>
            <p:nvPr/>
          </p:nvSpPr>
          <p:spPr>
            <a:xfrm>
              <a:off x="6225117" y="1297991"/>
              <a:ext cx="336565" cy="466108"/>
            </a:xfrm>
            <a:custGeom>
              <a:avLst/>
              <a:gdLst>
                <a:gd name="connsiteX0" fmla="*/ 336566 w 336565"/>
                <a:gd name="connsiteY0" fmla="*/ 232419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2419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959E3BF7-64ED-4426-AC4E-6731927E7617}"/>
                </a:ext>
              </a:extLst>
            </p:cNvPr>
            <p:cNvSpPr/>
            <p:nvPr/>
          </p:nvSpPr>
          <p:spPr>
            <a:xfrm>
              <a:off x="6226387" y="1179242"/>
              <a:ext cx="334025" cy="231149"/>
            </a:xfrm>
            <a:custGeom>
              <a:avLst/>
              <a:gdLst>
                <a:gd name="connsiteX0" fmla="*/ 166378 w 334025"/>
                <a:gd name="connsiteY0" fmla="*/ 231149 h 231149"/>
                <a:gd name="connsiteX1" fmla="*/ 0 w 334025"/>
                <a:gd name="connsiteY1" fmla="*/ 115575 h 231149"/>
                <a:gd name="connsiteX2" fmla="*/ 166378 w 334025"/>
                <a:gd name="connsiteY2" fmla="*/ 0 h 231149"/>
                <a:gd name="connsiteX3" fmla="*/ 334026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8" y="231149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8" name="Freeform: Shape 287">
              <a:extLst>
                <a:ext uri="{FF2B5EF4-FFF2-40B4-BE49-F238E27FC236}">
                  <a16:creationId xmlns:a16="http://schemas.microsoft.com/office/drawing/2014/main" id="{8F54D794-6812-4314-AD84-B2E78A4AA269}"/>
                </a:ext>
              </a:extLst>
            </p:cNvPr>
            <p:cNvSpPr/>
            <p:nvPr/>
          </p:nvSpPr>
          <p:spPr>
            <a:xfrm>
              <a:off x="6056199" y="1062397"/>
              <a:ext cx="333390" cy="463568"/>
            </a:xfrm>
            <a:custGeom>
              <a:avLst/>
              <a:gdLst>
                <a:gd name="connsiteX0" fmla="*/ 165743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5743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12D4095E-CC9A-43A8-B97D-B8AB56121FB3}"/>
                </a:ext>
              </a:extLst>
            </p:cNvPr>
            <p:cNvSpPr/>
            <p:nvPr userDrawn="1"/>
          </p:nvSpPr>
          <p:spPr>
            <a:xfrm>
              <a:off x="10989745" y="3190367"/>
              <a:ext cx="337200" cy="702973"/>
            </a:xfrm>
            <a:custGeom>
              <a:avLst/>
              <a:gdLst>
                <a:gd name="connsiteX0" fmla="*/ 0 w 337200"/>
                <a:gd name="connsiteY0" fmla="*/ 468649 h 702973"/>
                <a:gd name="connsiteX1" fmla="*/ 0 w 337200"/>
                <a:gd name="connsiteY1" fmla="*/ 0 h 702973"/>
                <a:gd name="connsiteX2" fmla="*/ 168283 w 337200"/>
                <a:gd name="connsiteY2" fmla="*/ 116845 h 702973"/>
                <a:gd name="connsiteX3" fmla="*/ 168283 w 337200"/>
                <a:gd name="connsiteY3" fmla="*/ 351804 h 702973"/>
                <a:gd name="connsiteX4" fmla="*/ 337201 w 337200"/>
                <a:gd name="connsiteY4" fmla="*/ 468649 h 702973"/>
                <a:gd name="connsiteX5" fmla="*/ 337201 w 337200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973">
                  <a:moveTo>
                    <a:pt x="0" y="468649"/>
                  </a:moveTo>
                  <a:lnTo>
                    <a:pt x="0" y="0"/>
                  </a:lnTo>
                  <a:lnTo>
                    <a:pt x="168283" y="116845"/>
                  </a:lnTo>
                  <a:lnTo>
                    <a:pt x="168283" y="351804"/>
                  </a:lnTo>
                  <a:lnTo>
                    <a:pt x="337201" y="468649"/>
                  </a:lnTo>
                  <a:lnTo>
                    <a:pt x="337201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B12A6A38-0654-478A-A931-1CF9A44B5FB1}"/>
                </a:ext>
              </a:extLst>
            </p:cNvPr>
            <p:cNvSpPr/>
            <p:nvPr/>
          </p:nvSpPr>
          <p:spPr>
            <a:xfrm>
              <a:off x="11330121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19A9F654-709E-42A1-BBBA-A54688DB4E39}"/>
                </a:ext>
              </a:extLst>
            </p:cNvPr>
            <p:cNvSpPr/>
            <p:nvPr/>
          </p:nvSpPr>
          <p:spPr>
            <a:xfrm>
              <a:off x="11331391" y="3307847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4 h 231149"/>
                <a:gd name="connsiteX2" fmla="*/ 166377 w 334025"/>
                <a:gd name="connsiteY2" fmla="*/ 0 h 231149"/>
                <a:gd name="connsiteX3" fmla="*/ 334025 w 334025"/>
                <a:gd name="connsiteY3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4"/>
                  </a:lnTo>
                  <a:lnTo>
                    <a:pt x="166377" y="0"/>
                  </a:lnTo>
                  <a:lnTo>
                    <a:pt x="334025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CFD0CCE2-EF48-427C-9F99-EBAAB8641F3B}"/>
                </a:ext>
              </a:extLst>
            </p:cNvPr>
            <p:cNvSpPr/>
            <p:nvPr/>
          </p:nvSpPr>
          <p:spPr>
            <a:xfrm>
              <a:off x="11161203" y="3191002"/>
              <a:ext cx="333390" cy="463568"/>
            </a:xfrm>
            <a:custGeom>
              <a:avLst/>
              <a:gdLst>
                <a:gd name="connsiteX0" fmla="*/ 166377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D6F113D6-755E-4281-9986-739A705A355C}"/>
                </a:ext>
              </a:extLst>
            </p:cNvPr>
            <p:cNvSpPr/>
            <p:nvPr userDrawn="1"/>
          </p:nvSpPr>
          <p:spPr>
            <a:xfrm>
              <a:off x="10991650" y="2952868"/>
              <a:ext cx="673766" cy="351168"/>
            </a:xfrm>
            <a:custGeom>
              <a:avLst/>
              <a:gdLst>
                <a:gd name="connsiteX0" fmla="*/ 337836 w 673766"/>
                <a:gd name="connsiteY0" fmla="*/ 234324 h 351168"/>
                <a:gd name="connsiteX1" fmla="*/ 336566 w 673766"/>
                <a:gd name="connsiteY1" fmla="*/ 233689 h 351168"/>
                <a:gd name="connsiteX2" fmla="*/ 167647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8 w 673766"/>
                <a:gd name="connsiteY6" fmla="*/ 35053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324"/>
                  </a:moveTo>
                  <a:lnTo>
                    <a:pt x="336566" y="233689"/>
                  </a:lnTo>
                  <a:lnTo>
                    <a:pt x="167647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8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288D58B7-DB17-4A8B-94E1-CC68C3FB8024}"/>
                </a:ext>
              </a:extLst>
            </p:cNvPr>
            <p:cNvSpPr/>
            <p:nvPr/>
          </p:nvSpPr>
          <p:spPr>
            <a:xfrm>
              <a:off x="11160568" y="2481044"/>
              <a:ext cx="165742" cy="229244"/>
            </a:xfrm>
            <a:custGeom>
              <a:avLst/>
              <a:gdLst>
                <a:gd name="connsiteX0" fmla="*/ 0 w 165742"/>
                <a:gd name="connsiteY0" fmla="*/ 114939 h 229244"/>
                <a:gd name="connsiteX1" fmla="*/ 165743 w 165742"/>
                <a:gd name="connsiteY1" fmla="*/ 0 h 229244"/>
                <a:gd name="connsiteX2" fmla="*/ 165743 w 165742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0" y="114939"/>
                  </a:moveTo>
                  <a:lnTo>
                    <a:pt x="165743" y="0"/>
                  </a:lnTo>
                  <a:lnTo>
                    <a:pt x="165743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E8EB7E8E-9AC5-4207-B9FA-AA323C470FD7}"/>
                </a:ext>
              </a:extLst>
            </p:cNvPr>
            <p:cNvSpPr/>
            <p:nvPr/>
          </p:nvSpPr>
          <p:spPr>
            <a:xfrm>
              <a:off x="10989745" y="1771720"/>
              <a:ext cx="337200" cy="702338"/>
            </a:xfrm>
            <a:custGeom>
              <a:avLst/>
              <a:gdLst>
                <a:gd name="connsiteX0" fmla="*/ 0 w 337200"/>
                <a:gd name="connsiteY0" fmla="*/ 468014 h 702338"/>
                <a:gd name="connsiteX1" fmla="*/ 0 w 337200"/>
                <a:gd name="connsiteY1" fmla="*/ 0 h 702338"/>
                <a:gd name="connsiteX2" fmla="*/ 168283 w 337200"/>
                <a:gd name="connsiteY2" fmla="*/ 116210 h 702338"/>
                <a:gd name="connsiteX3" fmla="*/ 168283 w 337200"/>
                <a:gd name="connsiteY3" fmla="*/ 351169 h 702338"/>
                <a:gd name="connsiteX4" fmla="*/ 337201 w 337200"/>
                <a:gd name="connsiteY4" fmla="*/ 468649 h 702338"/>
                <a:gd name="connsiteX5" fmla="*/ 337201 w 337200"/>
                <a:gd name="connsiteY5" fmla="*/ 702338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7200" h="702338">
                  <a:moveTo>
                    <a:pt x="0" y="468014"/>
                  </a:moveTo>
                  <a:lnTo>
                    <a:pt x="0" y="0"/>
                  </a:lnTo>
                  <a:lnTo>
                    <a:pt x="168283" y="116210"/>
                  </a:lnTo>
                  <a:lnTo>
                    <a:pt x="168283" y="351169"/>
                  </a:lnTo>
                  <a:lnTo>
                    <a:pt x="337201" y="468649"/>
                  </a:lnTo>
                  <a:lnTo>
                    <a:pt x="337201" y="70233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FA0DACF7-07A8-49A1-94EA-BB4318E13B87}"/>
                </a:ext>
              </a:extLst>
            </p:cNvPr>
            <p:cNvSpPr/>
            <p:nvPr/>
          </p:nvSpPr>
          <p:spPr>
            <a:xfrm>
              <a:off x="11330121" y="2007950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3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3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97B55E4B-5A47-4648-A4B4-F8B8100F7CF4}"/>
                </a:ext>
              </a:extLst>
            </p:cNvPr>
            <p:cNvSpPr/>
            <p:nvPr/>
          </p:nvSpPr>
          <p:spPr>
            <a:xfrm>
              <a:off x="11332026" y="1888565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2D35E042-5FDC-4D40-9460-DB46EF1984D9}"/>
                </a:ext>
              </a:extLst>
            </p:cNvPr>
            <p:cNvSpPr/>
            <p:nvPr/>
          </p:nvSpPr>
          <p:spPr>
            <a:xfrm>
              <a:off x="11161203" y="1771720"/>
              <a:ext cx="333390" cy="463568"/>
            </a:xfrm>
            <a:custGeom>
              <a:avLst/>
              <a:gdLst>
                <a:gd name="connsiteX0" fmla="*/ 166377 w 333390"/>
                <a:gd name="connsiteY0" fmla="*/ 231149 h 463568"/>
                <a:gd name="connsiteX1" fmla="*/ 165743 w 333390"/>
                <a:gd name="connsiteY1" fmla="*/ 231784 h 463568"/>
                <a:gd name="connsiteX2" fmla="*/ 165743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40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7" y="231149"/>
                  </a:moveTo>
                  <a:lnTo>
                    <a:pt x="165743" y="231784"/>
                  </a:lnTo>
                  <a:lnTo>
                    <a:pt x="165743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353C1B0E-0D87-4024-A2D3-7B16F275421F}"/>
                </a:ext>
              </a:extLst>
            </p:cNvPr>
            <p:cNvSpPr/>
            <p:nvPr/>
          </p:nvSpPr>
          <p:spPr>
            <a:xfrm>
              <a:off x="10991650" y="1533586"/>
              <a:ext cx="673766" cy="351168"/>
            </a:xfrm>
            <a:custGeom>
              <a:avLst/>
              <a:gdLst>
                <a:gd name="connsiteX0" fmla="*/ 337836 w 673766"/>
                <a:gd name="connsiteY0" fmla="*/ 234324 h 351168"/>
                <a:gd name="connsiteX1" fmla="*/ 336566 w 673766"/>
                <a:gd name="connsiteY1" fmla="*/ 233689 h 351168"/>
                <a:gd name="connsiteX2" fmla="*/ 167647 w 673766"/>
                <a:gd name="connsiteY2" fmla="*/ 351169 h 351168"/>
                <a:gd name="connsiteX3" fmla="*/ 0 w 673766"/>
                <a:gd name="connsiteY3" fmla="*/ 234324 h 351168"/>
                <a:gd name="connsiteX4" fmla="*/ 336566 w 673766"/>
                <a:gd name="connsiteY4" fmla="*/ 0 h 351168"/>
                <a:gd name="connsiteX5" fmla="*/ 673766 w 673766"/>
                <a:gd name="connsiteY5" fmla="*/ 234324 h 351168"/>
                <a:gd name="connsiteX6" fmla="*/ 506118 w 673766"/>
                <a:gd name="connsiteY6" fmla="*/ 350534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8">
                  <a:moveTo>
                    <a:pt x="337836" y="234324"/>
                  </a:moveTo>
                  <a:lnTo>
                    <a:pt x="336566" y="233689"/>
                  </a:lnTo>
                  <a:lnTo>
                    <a:pt x="167647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lnTo>
                    <a:pt x="506118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1208F0FD-CB69-4D4C-B21E-5748A3029F4D}"/>
                </a:ext>
              </a:extLst>
            </p:cNvPr>
            <p:cNvSpPr/>
            <p:nvPr/>
          </p:nvSpPr>
          <p:spPr>
            <a:xfrm>
              <a:off x="11160568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EA306DBC-4A6E-40F1-8A3C-F4BA4B73F445}"/>
                </a:ext>
              </a:extLst>
            </p:cNvPr>
            <p:cNvSpPr/>
            <p:nvPr/>
          </p:nvSpPr>
          <p:spPr>
            <a:xfrm>
              <a:off x="10479816" y="1061762"/>
              <a:ext cx="166377" cy="229244"/>
            </a:xfrm>
            <a:custGeom>
              <a:avLst/>
              <a:gdLst>
                <a:gd name="connsiteX0" fmla="*/ 166378 w 166377"/>
                <a:gd name="connsiteY0" fmla="*/ 229244 h 229244"/>
                <a:gd name="connsiteX1" fmla="*/ 0 w 166377"/>
                <a:gd name="connsiteY1" fmla="*/ 114940 h 229244"/>
                <a:gd name="connsiteX2" fmla="*/ 166378 w 166377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244">
                  <a:moveTo>
                    <a:pt x="166378" y="229244"/>
                  </a:moveTo>
                  <a:lnTo>
                    <a:pt x="0" y="114940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70C0CD80-1873-48B5-95AF-529A9754991F}"/>
                </a:ext>
              </a:extLst>
            </p:cNvPr>
            <p:cNvSpPr/>
            <p:nvPr/>
          </p:nvSpPr>
          <p:spPr>
            <a:xfrm>
              <a:off x="9799699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377B49AE-C42C-4EA0-930C-C00692BCED13}"/>
                </a:ext>
              </a:extLst>
            </p:cNvPr>
            <p:cNvSpPr/>
            <p:nvPr/>
          </p:nvSpPr>
          <p:spPr>
            <a:xfrm>
              <a:off x="9118948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76EDEDC9-4DA7-40D8-96D2-7CBA0CD5FDDE}"/>
                </a:ext>
              </a:extLst>
            </p:cNvPr>
            <p:cNvSpPr/>
            <p:nvPr/>
          </p:nvSpPr>
          <p:spPr>
            <a:xfrm>
              <a:off x="8438196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27E136DA-DD4E-496F-86CB-6E657B23CCB8}"/>
                </a:ext>
              </a:extLst>
            </p:cNvPr>
            <p:cNvSpPr/>
            <p:nvPr/>
          </p:nvSpPr>
          <p:spPr>
            <a:xfrm>
              <a:off x="7757444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D02B0CB8-D8F5-456C-BAF1-2CDECFC4C3AF}"/>
                </a:ext>
              </a:extLst>
            </p:cNvPr>
            <p:cNvSpPr/>
            <p:nvPr/>
          </p:nvSpPr>
          <p:spPr>
            <a:xfrm>
              <a:off x="7076692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213B9934-BED1-4524-A498-049661102B40}"/>
                </a:ext>
              </a:extLst>
            </p:cNvPr>
            <p:cNvSpPr/>
            <p:nvPr/>
          </p:nvSpPr>
          <p:spPr>
            <a:xfrm>
              <a:off x="6395940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7BEB4C63-1A68-4CF2-8C24-2C5065C42B07}"/>
                </a:ext>
              </a:extLst>
            </p:cNvPr>
            <p:cNvSpPr/>
            <p:nvPr/>
          </p:nvSpPr>
          <p:spPr>
            <a:xfrm>
              <a:off x="5715188" y="1061762"/>
              <a:ext cx="165742" cy="229244"/>
            </a:xfrm>
            <a:custGeom>
              <a:avLst/>
              <a:gdLst>
                <a:gd name="connsiteX0" fmla="*/ 165743 w 165742"/>
                <a:gd name="connsiteY0" fmla="*/ 229244 h 229244"/>
                <a:gd name="connsiteX1" fmla="*/ 0 w 165742"/>
                <a:gd name="connsiteY1" fmla="*/ 114940 h 229244"/>
                <a:gd name="connsiteX2" fmla="*/ 165743 w 165742"/>
                <a:gd name="connsiteY2" fmla="*/ 0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165743" y="229244"/>
                  </a:moveTo>
                  <a:lnTo>
                    <a:pt x="0" y="114940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9C3BF88E-3750-45C8-A061-E715298B5ADA}"/>
                </a:ext>
              </a:extLst>
            </p:cNvPr>
            <p:cNvSpPr/>
            <p:nvPr/>
          </p:nvSpPr>
          <p:spPr>
            <a:xfrm>
              <a:off x="11500944" y="3190367"/>
              <a:ext cx="165742" cy="229879"/>
            </a:xfrm>
            <a:custGeom>
              <a:avLst/>
              <a:gdLst>
                <a:gd name="connsiteX0" fmla="*/ 0 w 165742"/>
                <a:gd name="connsiteY0" fmla="*/ 115575 h 229879"/>
                <a:gd name="connsiteX1" fmla="*/ 165743 w 165742"/>
                <a:gd name="connsiteY1" fmla="*/ 0 h 229879"/>
                <a:gd name="connsiteX2" fmla="*/ 165743 w 165742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0" y="115575"/>
                  </a:moveTo>
                  <a:lnTo>
                    <a:pt x="165743" y="0"/>
                  </a:lnTo>
                  <a:lnTo>
                    <a:pt x="165743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C6FBBE5A-F397-4A06-BAAE-5C63E9F56712}"/>
                </a:ext>
              </a:extLst>
            </p:cNvPr>
            <p:cNvSpPr/>
            <p:nvPr/>
          </p:nvSpPr>
          <p:spPr>
            <a:xfrm>
              <a:off x="11500944" y="1771085"/>
              <a:ext cx="165742" cy="229879"/>
            </a:xfrm>
            <a:custGeom>
              <a:avLst/>
              <a:gdLst>
                <a:gd name="connsiteX0" fmla="*/ 0 w 165742"/>
                <a:gd name="connsiteY0" fmla="*/ 115575 h 229879"/>
                <a:gd name="connsiteX1" fmla="*/ 165743 w 165742"/>
                <a:gd name="connsiteY1" fmla="*/ 0 h 229879"/>
                <a:gd name="connsiteX2" fmla="*/ 165743 w 165742"/>
                <a:gd name="connsiteY2" fmla="*/ 229879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0" y="115575"/>
                  </a:moveTo>
                  <a:lnTo>
                    <a:pt x="165743" y="0"/>
                  </a:lnTo>
                  <a:lnTo>
                    <a:pt x="165743" y="2298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8631E268-38E2-4993-82BD-A36EEE17F04D}"/>
                </a:ext>
              </a:extLst>
            </p:cNvPr>
            <p:cNvSpPr/>
            <p:nvPr/>
          </p:nvSpPr>
          <p:spPr>
            <a:xfrm>
              <a:off x="11671767" y="1179242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5 h 231149"/>
                <a:gd name="connsiteX2" fmla="*/ 166377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28533AA8-92C8-46B1-9567-02527BACAA79}"/>
                </a:ext>
              </a:extLst>
            </p:cNvPr>
            <p:cNvSpPr/>
            <p:nvPr/>
          </p:nvSpPr>
          <p:spPr>
            <a:xfrm>
              <a:off x="11501579" y="1062397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EAB24CC8-78E6-4CC9-A33D-D2EE7C9CF921}"/>
                </a:ext>
              </a:extLst>
            </p:cNvPr>
            <p:cNvSpPr/>
            <p:nvPr/>
          </p:nvSpPr>
          <p:spPr>
            <a:xfrm>
              <a:off x="11331391" y="824262"/>
              <a:ext cx="674401" cy="351169"/>
            </a:xfrm>
            <a:custGeom>
              <a:avLst/>
              <a:gdLst>
                <a:gd name="connsiteX0" fmla="*/ 338470 w 674401"/>
                <a:gd name="connsiteY0" fmla="*/ 234324 h 351169"/>
                <a:gd name="connsiteX1" fmla="*/ 337201 w 674401"/>
                <a:gd name="connsiteY1" fmla="*/ 233689 h 351169"/>
                <a:gd name="connsiteX2" fmla="*/ 168283 w 674401"/>
                <a:gd name="connsiteY2" fmla="*/ 351169 h 351169"/>
                <a:gd name="connsiteX3" fmla="*/ 0 w 674401"/>
                <a:gd name="connsiteY3" fmla="*/ 233689 h 351169"/>
                <a:gd name="connsiteX4" fmla="*/ 337201 w 674401"/>
                <a:gd name="connsiteY4" fmla="*/ 0 h 351169"/>
                <a:gd name="connsiteX5" fmla="*/ 674401 w 674401"/>
                <a:gd name="connsiteY5" fmla="*/ 233689 h 351169"/>
                <a:gd name="connsiteX6" fmla="*/ 506753 w 674401"/>
                <a:gd name="connsiteY6" fmla="*/ 35053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338470" y="234324"/>
                  </a:moveTo>
                  <a:lnTo>
                    <a:pt x="337201" y="233689"/>
                  </a:lnTo>
                  <a:lnTo>
                    <a:pt x="168283" y="351169"/>
                  </a:lnTo>
                  <a:lnTo>
                    <a:pt x="0" y="233689"/>
                  </a:lnTo>
                  <a:lnTo>
                    <a:pt x="337201" y="0"/>
                  </a:lnTo>
                  <a:lnTo>
                    <a:pt x="674401" y="233689"/>
                  </a:lnTo>
                  <a:lnTo>
                    <a:pt x="506753" y="35053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F71FF9DE-63B5-491B-9E38-500A6B3542FB}"/>
                </a:ext>
              </a:extLst>
            </p:cNvPr>
            <p:cNvSpPr/>
            <p:nvPr/>
          </p:nvSpPr>
          <p:spPr>
            <a:xfrm>
              <a:off x="11330121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38F6A2B3-20B0-4B23-8F7C-5B7C31796F5A}"/>
                </a:ext>
              </a:extLst>
            </p:cNvPr>
            <p:cNvSpPr/>
            <p:nvPr/>
          </p:nvSpPr>
          <p:spPr>
            <a:xfrm>
              <a:off x="11331391" y="469283"/>
              <a:ext cx="334025" cy="231784"/>
            </a:xfrm>
            <a:custGeom>
              <a:avLst/>
              <a:gdLst>
                <a:gd name="connsiteX0" fmla="*/ 166377 w 334025"/>
                <a:gd name="connsiteY0" fmla="*/ 231784 h 231784"/>
                <a:gd name="connsiteX1" fmla="*/ 0 w 334025"/>
                <a:gd name="connsiteY1" fmla="*/ 115575 h 231784"/>
                <a:gd name="connsiteX2" fmla="*/ 166377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7" y="231784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619AF764-A941-44E8-AEF1-4D7FECBA0A40}"/>
                </a:ext>
              </a:extLst>
            </p:cNvPr>
            <p:cNvSpPr/>
            <p:nvPr/>
          </p:nvSpPr>
          <p:spPr>
            <a:xfrm>
              <a:off x="11161203" y="352439"/>
              <a:ext cx="333390" cy="464203"/>
            </a:xfrm>
            <a:custGeom>
              <a:avLst/>
              <a:gdLst>
                <a:gd name="connsiteX0" fmla="*/ 166377 w 333390"/>
                <a:gd name="connsiteY0" fmla="*/ 231149 h 464203"/>
                <a:gd name="connsiteX1" fmla="*/ 165743 w 333390"/>
                <a:gd name="connsiteY1" fmla="*/ 231784 h 464203"/>
                <a:gd name="connsiteX2" fmla="*/ 165743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6377" y="231149"/>
                  </a:moveTo>
                  <a:lnTo>
                    <a:pt x="165743" y="231784"/>
                  </a:lnTo>
                  <a:lnTo>
                    <a:pt x="165743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AD9B25C9-F2B6-47EC-AEF7-81B1F4F91993}"/>
                </a:ext>
              </a:extLst>
            </p:cNvPr>
            <p:cNvSpPr/>
            <p:nvPr/>
          </p:nvSpPr>
          <p:spPr>
            <a:xfrm>
              <a:off x="10649369" y="588668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0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C85E8ED8-8E8F-4A34-B38A-6943F1CFFFE6}"/>
                </a:ext>
              </a:extLst>
            </p:cNvPr>
            <p:cNvSpPr/>
            <p:nvPr/>
          </p:nvSpPr>
          <p:spPr>
            <a:xfrm>
              <a:off x="10651274" y="469283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0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F1DD2135-868C-4A52-B10A-DCC4100F5FE7}"/>
                </a:ext>
              </a:extLst>
            </p:cNvPr>
            <p:cNvSpPr/>
            <p:nvPr/>
          </p:nvSpPr>
          <p:spPr>
            <a:xfrm>
              <a:off x="10480451" y="352439"/>
              <a:ext cx="333390" cy="464203"/>
            </a:xfrm>
            <a:custGeom>
              <a:avLst/>
              <a:gdLst>
                <a:gd name="connsiteX0" fmla="*/ 166378 w 333390"/>
                <a:gd name="connsiteY0" fmla="*/ 231149 h 464203"/>
                <a:gd name="connsiteX1" fmla="*/ 165743 w 333390"/>
                <a:gd name="connsiteY1" fmla="*/ 231784 h 464203"/>
                <a:gd name="connsiteX2" fmla="*/ 165743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6378" y="231149"/>
                  </a:moveTo>
                  <a:lnTo>
                    <a:pt x="165743" y="231784"/>
                  </a:lnTo>
                  <a:lnTo>
                    <a:pt x="165743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1D8467DC-9828-478B-A9D8-CD3DF612D027}"/>
                </a:ext>
              </a:extLst>
            </p:cNvPr>
            <p:cNvSpPr/>
            <p:nvPr/>
          </p:nvSpPr>
          <p:spPr>
            <a:xfrm>
              <a:off x="9968617" y="588668"/>
              <a:ext cx="337200" cy="466108"/>
            </a:xfrm>
            <a:custGeom>
              <a:avLst/>
              <a:gdLst>
                <a:gd name="connsiteX0" fmla="*/ 337201 w 337200"/>
                <a:gd name="connsiteY0" fmla="*/ 231784 h 466108"/>
                <a:gd name="connsiteX1" fmla="*/ 635 w 337200"/>
                <a:gd name="connsiteY1" fmla="*/ 466109 h 466108"/>
                <a:gd name="connsiteX2" fmla="*/ 0 w 337200"/>
                <a:gd name="connsiteY2" fmla="*/ 232419 h 466108"/>
                <a:gd name="connsiteX3" fmla="*/ 337201 w 337200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00" h="466108">
                  <a:moveTo>
                    <a:pt x="337201" y="231784"/>
                  </a:moveTo>
                  <a:lnTo>
                    <a:pt x="635" y="466109"/>
                  </a:lnTo>
                  <a:lnTo>
                    <a:pt x="0" y="232419"/>
                  </a:lnTo>
                  <a:lnTo>
                    <a:pt x="337201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01C9BBF7-8F50-42C1-AC9D-783DF95871F8}"/>
                </a:ext>
              </a:extLst>
            </p:cNvPr>
            <p:cNvSpPr/>
            <p:nvPr/>
          </p:nvSpPr>
          <p:spPr>
            <a:xfrm>
              <a:off x="9970522" y="469283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BA205240-8FAD-4B1B-9D10-7D0DD93F71BE}"/>
                </a:ext>
              </a:extLst>
            </p:cNvPr>
            <p:cNvSpPr/>
            <p:nvPr/>
          </p:nvSpPr>
          <p:spPr>
            <a:xfrm>
              <a:off x="9800334" y="352439"/>
              <a:ext cx="332755" cy="464203"/>
            </a:xfrm>
            <a:custGeom>
              <a:avLst/>
              <a:gdLst>
                <a:gd name="connsiteX0" fmla="*/ 165743 w 332755"/>
                <a:gd name="connsiteY0" fmla="*/ 231149 h 464203"/>
                <a:gd name="connsiteX1" fmla="*/ 165108 w 332755"/>
                <a:gd name="connsiteY1" fmla="*/ 231784 h 464203"/>
                <a:gd name="connsiteX2" fmla="*/ 165108 w 332755"/>
                <a:gd name="connsiteY2" fmla="*/ 464204 h 464203"/>
                <a:gd name="connsiteX3" fmla="*/ 0 w 332755"/>
                <a:gd name="connsiteY3" fmla="*/ 349264 h 464203"/>
                <a:gd name="connsiteX4" fmla="*/ 0 w 332755"/>
                <a:gd name="connsiteY4" fmla="*/ 116210 h 464203"/>
                <a:gd name="connsiteX5" fmla="*/ 167013 w 332755"/>
                <a:gd name="connsiteY5" fmla="*/ 0 h 464203"/>
                <a:gd name="connsiteX6" fmla="*/ 332755 w 332755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5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322A5BEE-4B57-4D0E-AF35-89AB8F8DB784}"/>
                </a:ext>
              </a:extLst>
            </p:cNvPr>
            <p:cNvSpPr/>
            <p:nvPr/>
          </p:nvSpPr>
          <p:spPr>
            <a:xfrm>
              <a:off x="9288500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5FEEC27D-23FD-4C40-A68B-D4E12CF89DDE}"/>
                </a:ext>
              </a:extLst>
            </p:cNvPr>
            <p:cNvSpPr/>
            <p:nvPr/>
          </p:nvSpPr>
          <p:spPr>
            <a:xfrm>
              <a:off x="9289770" y="469283"/>
              <a:ext cx="333390" cy="231784"/>
            </a:xfrm>
            <a:custGeom>
              <a:avLst/>
              <a:gdLst>
                <a:gd name="connsiteX0" fmla="*/ 165743 w 333390"/>
                <a:gd name="connsiteY0" fmla="*/ 231784 h 231784"/>
                <a:gd name="connsiteX1" fmla="*/ 0 w 333390"/>
                <a:gd name="connsiteY1" fmla="*/ 115575 h 231784"/>
                <a:gd name="connsiteX2" fmla="*/ 165743 w 333390"/>
                <a:gd name="connsiteY2" fmla="*/ 0 h 231784"/>
                <a:gd name="connsiteX3" fmla="*/ 333391 w 333390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390" h="231784">
                  <a:moveTo>
                    <a:pt x="165743" y="231784"/>
                  </a:moveTo>
                  <a:lnTo>
                    <a:pt x="0" y="115575"/>
                  </a:lnTo>
                  <a:lnTo>
                    <a:pt x="165743" y="0"/>
                  </a:lnTo>
                  <a:lnTo>
                    <a:pt x="333391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1B0B939D-F51D-4154-AD24-9EE54D6D4C0D}"/>
                </a:ext>
              </a:extLst>
            </p:cNvPr>
            <p:cNvSpPr/>
            <p:nvPr/>
          </p:nvSpPr>
          <p:spPr>
            <a:xfrm>
              <a:off x="9119582" y="352439"/>
              <a:ext cx="332755" cy="464203"/>
            </a:xfrm>
            <a:custGeom>
              <a:avLst/>
              <a:gdLst>
                <a:gd name="connsiteX0" fmla="*/ 165743 w 332755"/>
                <a:gd name="connsiteY0" fmla="*/ 231149 h 464203"/>
                <a:gd name="connsiteX1" fmla="*/ 165108 w 332755"/>
                <a:gd name="connsiteY1" fmla="*/ 231784 h 464203"/>
                <a:gd name="connsiteX2" fmla="*/ 165108 w 332755"/>
                <a:gd name="connsiteY2" fmla="*/ 464204 h 464203"/>
                <a:gd name="connsiteX3" fmla="*/ 0 w 332755"/>
                <a:gd name="connsiteY3" fmla="*/ 349264 h 464203"/>
                <a:gd name="connsiteX4" fmla="*/ 0 w 332755"/>
                <a:gd name="connsiteY4" fmla="*/ 116210 h 464203"/>
                <a:gd name="connsiteX5" fmla="*/ 167013 w 332755"/>
                <a:gd name="connsiteY5" fmla="*/ 0 h 464203"/>
                <a:gd name="connsiteX6" fmla="*/ 332756 w 332755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0CA2A3FE-25EB-47BF-BF7E-B541ABD3676D}"/>
                </a:ext>
              </a:extLst>
            </p:cNvPr>
            <p:cNvSpPr/>
            <p:nvPr/>
          </p:nvSpPr>
          <p:spPr>
            <a:xfrm>
              <a:off x="8607749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5ECC458B-B22A-4FE8-8ED4-52551F8B1991}"/>
                </a:ext>
              </a:extLst>
            </p:cNvPr>
            <p:cNvSpPr/>
            <p:nvPr/>
          </p:nvSpPr>
          <p:spPr>
            <a:xfrm>
              <a:off x="8609018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DA0E7B5C-2EA2-43DD-A2A8-FB6B2968FD68}"/>
                </a:ext>
              </a:extLst>
            </p:cNvPr>
            <p:cNvSpPr/>
            <p:nvPr/>
          </p:nvSpPr>
          <p:spPr>
            <a:xfrm>
              <a:off x="8438830" y="352439"/>
              <a:ext cx="332755" cy="464203"/>
            </a:xfrm>
            <a:custGeom>
              <a:avLst/>
              <a:gdLst>
                <a:gd name="connsiteX0" fmla="*/ 165743 w 332755"/>
                <a:gd name="connsiteY0" fmla="*/ 231149 h 464203"/>
                <a:gd name="connsiteX1" fmla="*/ 165108 w 332755"/>
                <a:gd name="connsiteY1" fmla="*/ 231784 h 464203"/>
                <a:gd name="connsiteX2" fmla="*/ 165108 w 332755"/>
                <a:gd name="connsiteY2" fmla="*/ 464204 h 464203"/>
                <a:gd name="connsiteX3" fmla="*/ 0 w 332755"/>
                <a:gd name="connsiteY3" fmla="*/ 349264 h 464203"/>
                <a:gd name="connsiteX4" fmla="*/ 0 w 332755"/>
                <a:gd name="connsiteY4" fmla="*/ 116210 h 464203"/>
                <a:gd name="connsiteX5" fmla="*/ 167013 w 332755"/>
                <a:gd name="connsiteY5" fmla="*/ 0 h 464203"/>
                <a:gd name="connsiteX6" fmla="*/ 332756 w 332755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2755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2756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8A4AD487-ED68-4120-85B8-C939A00C48FD}"/>
                </a:ext>
              </a:extLst>
            </p:cNvPr>
            <p:cNvSpPr/>
            <p:nvPr/>
          </p:nvSpPr>
          <p:spPr>
            <a:xfrm>
              <a:off x="7926997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20440B16-AAB7-4181-8010-99E1D73992A8}"/>
                </a:ext>
              </a:extLst>
            </p:cNvPr>
            <p:cNvSpPr/>
            <p:nvPr/>
          </p:nvSpPr>
          <p:spPr>
            <a:xfrm>
              <a:off x="7928267" y="469283"/>
              <a:ext cx="334025" cy="231784"/>
            </a:xfrm>
            <a:custGeom>
              <a:avLst/>
              <a:gdLst>
                <a:gd name="connsiteX0" fmla="*/ 166377 w 334025"/>
                <a:gd name="connsiteY0" fmla="*/ 231784 h 231784"/>
                <a:gd name="connsiteX1" fmla="*/ 0 w 334025"/>
                <a:gd name="connsiteY1" fmla="*/ 115575 h 231784"/>
                <a:gd name="connsiteX2" fmla="*/ 166377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7" y="231784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BBDBE921-3C27-4DD6-95A6-008B42B1DAD7}"/>
                </a:ext>
              </a:extLst>
            </p:cNvPr>
            <p:cNvSpPr/>
            <p:nvPr/>
          </p:nvSpPr>
          <p:spPr>
            <a:xfrm>
              <a:off x="7758079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2C7BA4D6-8553-4B07-8C99-5F4CF1C1E08E}"/>
                </a:ext>
              </a:extLst>
            </p:cNvPr>
            <p:cNvSpPr/>
            <p:nvPr/>
          </p:nvSpPr>
          <p:spPr>
            <a:xfrm>
              <a:off x="7246245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607DF843-BD19-4F36-803A-B2D1E2F53A4D}"/>
                </a:ext>
              </a:extLst>
            </p:cNvPr>
            <p:cNvSpPr/>
            <p:nvPr/>
          </p:nvSpPr>
          <p:spPr>
            <a:xfrm>
              <a:off x="7247515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5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A244F2A2-47F2-4F26-B8B3-083FF159DB37}"/>
                </a:ext>
              </a:extLst>
            </p:cNvPr>
            <p:cNvSpPr/>
            <p:nvPr/>
          </p:nvSpPr>
          <p:spPr>
            <a:xfrm>
              <a:off x="7077327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14825A9D-8EC5-4CF7-843E-03DA8BD8CFC7}"/>
                </a:ext>
              </a:extLst>
            </p:cNvPr>
            <p:cNvSpPr/>
            <p:nvPr/>
          </p:nvSpPr>
          <p:spPr>
            <a:xfrm>
              <a:off x="6565493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2BDA321A-68DA-48D8-94DC-D2A114EC17FB}"/>
                </a:ext>
              </a:extLst>
            </p:cNvPr>
            <p:cNvSpPr/>
            <p:nvPr/>
          </p:nvSpPr>
          <p:spPr>
            <a:xfrm>
              <a:off x="6566763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58F5EE14-50AD-4C48-B5AF-19129C00B31F}"/>
                </a:ext>
              </a:extLst>
            </p:cNvPr>
            <p:cNvSpPr/>
            <p:nvPr/>
          </p:nvSpPr>
          <p:spPr>
            <a:xfrm>
              <a:off x="6396575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705B77C8-5815-4FF6-9FD0-5E6D3D6285D5}"/>
                </a:ext>
              </a:extLst>
            </p:cNvPr>
            <p:cNvSpPr/>
            <p:nvPr/>
          </p:nvSpPr>
          <p:spPr>
            <a:xfrm>
              <a:off x="5884741" y="588668"/>
              <a:ext cx="336565" cy="466108"/>
            </a:xfrm>
            <a:custGeom>
              <a:avLst/>
              <a:gdLst>
                <a:gd name="connsiteX0" fmla="*/ 336566 w 336565"/>
                <a:gd name="connsiteY0" fmla="*/ 231784 h 466108"/>
                <a:gd name="connsiteX1" fmla="*/ 0 w 336565"/>
                <a:gd name="connsiteY1" fmla="*/ 466109 h 466108"/>
                <a:gd name="connsiteX2" fmla="*/ 0 w 336565"/>
                <a:gd name="connsiteY2" fmla="*/ 232419 h 466108"/>
                <a:gd name="connsiteX3" fmla="*/ 336566 w 336565"/>
                <a:gd name="connsiteY3" fmla="*/ 0 h 46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65" h="466108">
                  <a:moveTo>
                    <a:pt x="336566" y="231784"/>
                  </a:moveTo>
                  <a:lnTo>
                    <a:pt x="0" y="466109"/>
                  </a:lnTo>
                  <a:lnTo>
                    <a:pt x="0" y="232419"/>
                  </a:lnTo>
                  <a:lnTo>
                    <a:pt x="336566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27F4AA98-C6A3-41D0-A117-5F7B84D4FE7D}"/>
                </a:ext>
              </a:extLst>
            </p:cNvPr>
            <p:cNvSpPr/>
            <p:nvPr/>
          </p:nvSpPr>
          <p:spPr>
            <a:xfrm>
              <a:off x="5886011" y="469283"/>
              <a:ext cx="334025" cy="231784"/>
            </a:xfrm>
            <a:custGeom>
              <a:avLst/>
              <a:gdLst>
                <a:gd name="connsiteX0" fmla="*/ 166378 w 334025"/>
                <a:gd name="connsiteY0" fmla="*/ 231784 h 231784"/>
                <a:gd name="connsiteX1" fmla="*/ 0 w 334025"/>
                <a:gd name="connsiteY1" fmla="*/ 115575 h 231784"/>
                <a:gd name="connsiteX2" fmla="*/ 166378 w 334025"/>
                <a:gd name="connsiteY2" fmla="*/ 0 h 231784"/>
                <a:gd name="connsiteX3" fmla="*/ 334026 w 334025"/>
                <a:gd name="connsiteY3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784">
                  <a:moveTo>
                    <a:pt x="166378" y="231784"/>
                  </a:moveTo>
                  <a:lnTo>
                    <a:pt x="0" y="115575"/>
                  </a:lnTo>
                  <a:lnTo>
                    <a:pt x="166378" y="0"/>
                  </a:lnTo>
                  <a:lnTo>
                    <a:pt x="334026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26584816-7D52-4E40-ABB6-7DDEF7909140}"/>
                </a:ext>
              </a:extLst>
            </p:cNvPr>
            <p:cNvSpPr/>
            <p:nvPr/>
          </p:nvSpPr>
          <p:spPr>
            <a:xfrm>
              <a:off x="5715823" y="352439"/>
              <a:ext cx="333390" cy="464203"/>
            </a:xfrm>
            <a:custGeom>
              <a:avLst/>
              <a:gdLst>
                <a:gd name="connsiteX0" fmla="*/ 165743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5743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B8129D41-1CA7-4C41-B1C6-C933F34C45A8}"/>
                </a:ext>
              </a:extLst>
            </p:cNvPr>
            <p:cNvSpPr/>
            <p:nvPr/>
          </p:nvSpPr>
          <p:spPr>
            <a:xfrm>
              <a:off x="11331391" y="3662191"/>
              <a:ext cx="674401" cy="351168"/>
            </a:xfrm>
            <a:custGeom>
              <a:avLst/>
              <a:gdLst>
                <a:gd name="connsiteX0" fmla="*/ 338470 w 674401"/>
                <a:gd name="connsiteY0" fmla="*/ 234959 h 351168"/>
                <a:gd name="connsiteX1" fmla="*/ 337201 w 674401"/>
                <a:gd name="connsiteY1" fmla="*/ 234324 h 351168"/>
                <a:gd name="connsiteX2" fmla="*/ 168283 w 674401"/>
                <a:gd name="connsiteY2" fmla="*/ 351169 h 351168"/>
                <a:gd name="connsiteX3" fmla="*/ 0 w 674401"/>
                <a:gd name="connsiteY3" fmla="*/ 234324 h 351168"/>
                <a:gd name="connsiteX4" fmla="*/ 337201 w 674401"/>
                <a:gd name="connsiteY4" fmla="*/ 0 h 351168"/>
                <a:gd name="connsiteX5" fmla="*/ 674401 w 674401"/>
                <a:gd name="connsiteY5" fmla="*/ 234324 h 351168"/>
                <a:gd name="connsiteX6" fmla="*/ 506753 w 674401"/>
                <a:gd name="connsiteY6" fmla="*/ 351169 h 35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8">
                  <a:moveTo>
                    <a:pt x="338470" y="234959"/>
                  </a:moveTo>
                  <a:lnTo>
                    <a:pt x="337201" y="234324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1" y="234324"/>
                  </a:lnTo>
                  <a:lnTo>
                    <a:pt x="506753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3BE9D69C-2B49-4F24-B07B-26A0241FAB64}"/>
                </a:ext>
              </a:extLst>
            </p:cNvPr>
            <p:cNvSpPr/>
            <p:nvPr/>
          </p:nvSpPr>
          <p:spPr>
            <a:xfrm>
              <a:off x="11671767" y="2598524"/>
              <a:ext cx="334025" cy="231149"/>
            </a:xfrm>
            <a:custGeom>
              <a:avLst/>
              <a:gdLst>
                <a:gd name="connsiteX0" fmla="*/ 166377 w 334025"/>
                <a:gd name="connsiteY0" fmla="*/ 231149 h 231149"/>
                <a:gd name="connsiteX1" fmla="*/ 0 w 334025"/>
                <a:gd name="connsiteY1" fmla="*/ 115575 h 231149"/>
                <a:gd name="connsiteX2" fmla="*/ 166377 w 334025"/>
                <a:gd name="connsiteY2" fmla="*/ 0 h 231149"/>
                <a:gd name="connsiteX3" fmla="*/ 334025 w 334025"/>
                <a:gd name="connsiteY3" fmla="*/ 115575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4025" h="231149">
                  <a:moveTo>
                    <a:pt x="166377" y="231149"/>
                  </a:moveTo>
                  <a:lnTo>
                    <a:pt x="0" y="115575"/>
                  </a:lnTo>
                  <a:lnTo>
                    <a:pt x="166377" y="0"/>
                  </a:lnTo>
                  <a:lnTo>
                    <a:pt x="334025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B4FF07C2-A56F-4252-933C-4C4044641410}"/>
                </a:ext>
              </a:extLst>
            </p:cNvPr>
            <p:cNvSpPr/>
            <p:nvPr/>
          </p:nvSpPr>
          <p:spPr>
            <a:xfrm>
              <a:off x="11501579" y="2481679"/>
              <a:ext cx="333390" cy="463568"/>
            </a:xfrm>
            <a:custGeom>
              <a:avLst/>
              <a:gdLst>
                <a:gd name="connsiteX0" fmla="*/ 166378 w 333390"/>
                <a:gd name="connsiteY0" fmla="*/ 230514 h 463568"/>
                <a:gd name="connsiteX1" fmla="*/ 165108 w 333390"/>
                <a:gd name="connsiteY1" fmla="*/ 231149 h 463568"/>
                <a:gd name="connsiteX2" fmla="*/ 165108 w 333390"/>
                <a:gd name="connsiteY2" fmla="*/ 463569 h 463568"/>
                <a:gd name="connsiteX3" fmla="*/ 0 w 333390"/>
                <a:gd name="connsiteY3" fmla="*/ 348629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305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0514"/>
                  </a:moveTo>
                  <a:lnTo>
                    <a:pt x="165108" y="231149"/>
                  </a:lnTo>
                  <a:lnTo>
                    <a:pt x="165108" y="463569"/>
                  </a:lnTo>
                  <a:lnTo>
                    <a:pt x="0" y="348629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30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E25E20D0-36C1-4638-A03E-DF38DE0F273A}"/>
                </a:ext>
              </a:extLst>
            </p:cNvPr>
            <p:cNvSpPr/>
            <p:nvPr/>
          </p:nvSpPr>
          <p:spPr>
            <a:xfrm>
              <a:off x="11331391" y="2242909"/>
              <a:ext cx="674401" cy="351804"/>
            </a:xfrm>
            <a:custGeom>
              <a:avLst/>
              <a:gdLst>
                <a:gd name="connsiteX0" fmla="*/ 338470 w 674401"/>
                <a:gd name="connsiteY0" fmla="*/ 234959 h 351804"/>
                <a:gd name="connsiteX1" fmla="*/ 337201 w 674401"/>
                <a:gd name="connsiteY1" fmla="*/ 234324 h 351804"/>
                <a:gd name="connsiteX2" fmla="*/ 168283 w 674401"/>
                <a:gd name="connsiteY2" fmla="*/ 351804 h 351804"/>
                <a:gd name="connsiteX3" fmla="*/ 0 w 674401"/>
                <a:gd name="connsiteY3" fmla="*/ 234324 h 351804"/>
                <a:gd name="connsiteX4" fmla="*/ 337201 w 674401"/>
                <a:gd name="connsiteY4" fmla="*/ 0 h 351804"/>
                <a:gd name="connsiteX5" fmla="*/ 674401 w 674401"/>
                <a:gd name="connsiteY5" fmla="*/ 234324 h 351804"/>
                <a:gd name="connsiteX6" fmla="*/ 506753 w 674401"/>
                <a:gd name="connsiteY6" fmla="*/ 351169 h 351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804">
                  <a:moveTo>
                    <a:pt x="338470" y="234959"/>
                  </a:moveTo>
                  <a:lnTo>
                    <a:pt x="337201" y="234324"/>
                  </a:lnTo>
                  <a:lnTo>
                    <a:pt x="168283" y="351804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1" y="234324"/>
                  </a:lnTo>
                  <a:lnTo>
                    <a:pt x="506753" y="35116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8ED6B9EE-3D7D-4C6E-8368-7699765586B4}"/>
                </a:ext>
              </a:extLst>
            </p:cNvPr>
            <p:cNvSpPr/>
            <p:nvPr/>
          </p:nvSpPr>
          <p:spPr>
            <a:xfrm>
              <a:off x="11841320" y="1061762"/>
              <a:ext cx="165742" cy="229244"/>
            </a:xfrm>
            <a:custGeom>
              <a:avLst/>
              <a:gdLst>
                <a:gd name="connsiteX0" fmla="*/ 0 w 165742"/>
                <a:gd name="connsiteY0" fmla="*/ 114940 h 229244"/>
                <a:gd name="connsiteX1" fmla="*/ 165743 w 165742"/>
                <a:gd name="connsiteY1" fmla="*/ 0 h 229244"/>
                <a:gd name="connsiteX2" fmla="*/ 165743 w 165742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0" y="114940"/>
                  </a:moveTo>
                  <a:lnTo>
                    <a:pt x="165743" y="0"/>
                  </a:lnTo>
                  <a:lnTo>
                    <a:pt x="165743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9766A64A-97BE-48E1-A87D-7659FB265E73}"/>
                </a:ext>
              </a:extLst>
            </p:cNvPr>
            <p:cNvSpPr/>
            <p:nvPr/>
          </p:nvSpPr>
          <p:spPr>
            <a:xfrm>
              <a:off x="11670497" y="352439"/>
              <a:ext cx="336565" cy="702338"/>
            </a:xfrm>
            <a:custGeom>
              <a:avLst/>
              <a:gdLst>
                <a:gd name="connsiteX0" fmla="*/ 0 w 336565"/>
                <a:gd name="connsiteY0" fmla="*/ 468014 h 702338"/>
                <a:gd name="connsiteX1" fmla="*/ 0 w 336565"/>
                <a:gd name="connsiteY1" fmla="*/ 0 h 702338"/>
                <a:gd name="connsiteX2" fmla="*/ 167648 w 336565"/>
                <a:gd name="connsiteY2" fmla="*/ 116210 h 702338"/>
                <a:gd name="connsiteX3" fmla="*/ 167648 w 336565"/>
                <a:gd name="connsiteY3" fmla="*/ 351169 h 702338"/>
                <a:gd name="connsiteX4" fmla="*/ 336566 w 336565"/>
                <a:gd name="connsiteY4" fmla="*/ 468649 h 702338"/>
                <a:gd name="connsiteX5" fmla="*/ 336566 w 336565"/>
                <a:gd name="connsiteY5" fmla="*/ 702338 h 70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338">
                  <a:moveTo>
                    <a:pt x="0" y="468014"/>
                  </a:moveTo>
                  <a:lnTo>
                    <a:pt x="0" y="0"/>
                  </a:lnTo>
                  <a:lnTo>
                    <a:pt x="167648" y="116210"/>
                  </a:lnTo>
                  <a:lnTo>
                    <a:pt x="167648" y="351169"/>
                  </a:lnTo>
                  <a:lnTo>
                    <a:pt x="336566" y="468649"/>
                  </a:lnTo>
                  <a:lnTo>
                    <a:pt x="336566" y="70233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69AFAE1E-BA2B-42C6-9F05-D63ED810A36C}"/>
                </a:ext>
              </a:extLst>
            </p:cNvPr>
            <p:cNvSpPr/>
            <p:nvPr/>
          </p:nvSpPr>
          <p:spPr>
            <a:xfrm>
              <a:off x="11841955" y="352439"/>
              <a:ext cx="333390" cy="464203"/>
            </a:xfrm>
            <a:custGeom>
              <a:avLst/>
              <a:gdLst>
                <a:gd name="connsiteX0" fmla="*/ 166378 w 333390"/>
                <a:gd name="connsiteY0" fmla="*/ 231149 h 464203"/>
                <a:gd name="connsiteX1" fmla="*/ 165108 w 333390"/>
                <a:gd name="connsiteY1" fmla="*/ 231784 h 464203"/>
                <a:gd name="connsiteX2" fmla="*/ 165108 w 333390"/>
                <a:gd name="connsiteY2" fmla="*/ 464204 h 464203"/>
                <a:gd name="connsiteX3" fmla="*/ 0 w 333390"/>
                <a:gd name="connsiteY3" fmla="*/ 349264 h 464203"/>
                <a:gd name="connsiteX4" fmla="*/ 0 w 333390"/>
                <a:gd name="connsiteY4" fmla="*/ 116210 h 464203"/>
                <a:gd name="connsiteX5" fmla="*/ 167013 w 333390"/>
                <a:gd name="connsiteY5" fmla="*/ 0 h 464203"/>
                <a:gd name="connsiteX6" fmla="*/ 333391 w 333390"/>
                <a:gd name="connsiteY6" fmla="*/ 114940 h 464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4203">
                  <a:moveTo>
                    <a:pt x="166378" y="231149"/>
                  </a:moveTo>
                  <a:lnTo>
                    <a:pt x="165108" y="231784"/>
                  </a:lnTo>
                  <a:lnTo>
                    <a:pt x="165108" y="464204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4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D2DA1146-695D-4FCB-BB43-4DD3DA0CBE64}"/>
                </a:ext>
              </a:extLst>
            </p:cNvPr>
            <p:cNvSpPr/>
            <p:nvPr/>
          </p:nvSpPr>
          <p:spPr>
            <a:xfrm>
              <a:off x="12010873" y="588668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AF8BD631-8EF0-44C1-856D-79F193AEE73C}"/>
                </a:ext>
              </a:extLst>
            </p:cNvPr>
            <p:cNvSpPr/>
            <p:nvPr/>
          </p:nvSpPr>
          <p:spPr>
            <a:xfrm>
              <a:off x="12012143" y="469283"/>
              <a:ext cx="179857" cy="231784"/>
            </a:xfrm>
            <a:custGeom>
              <a:avLst/>
              <a:gdLst>
                <a:gd name="connsiteX0" fmla="*/ 166377 w 179857"/>
                <a:gd name="connsiteY0" fmla="*/ 0 h 231784"/>
                <a:gd name="connsiteX1" fmla="*/ 179857 w 179857"/>
                <a:gd name="connsiteY1" fmla="*/ 9293 h 231784"/>
                <a:gd name="connsiteX2" fmla="*/ 179857 w 179857"/>
                <a:gd name="connsiteY2" fmla="*/ 222440 h 231784"/>
                <a:gd name="connsiteX3" fmla="*/ 166377 w 179857"/>
                <a:gd name="connsiteY3" fmla="*/ 231784 h 231784"/>
                <a:gd name="connsiteX4" fmla="*/ 0 w 179857"/>
                <a:gd name="connsiteY4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7" h="231784">
                  <a:moveTo>
                    <a:pt x="166377" y="0"/>
                  </a:moveTo>
                  <a:lnTo>
                    <a:pt x="179857" y="9293"/>
                  </a:lnTo>
                  <a:lnTo>
                    <a:pt x="179857" y="222440"/>
                  </a:lnTo>
                  <a:lnTo>
                    <a:pt x="166377" y="231784"/>
                  </a:lnTo>
                  <a:lnTo>
                    <a:pt x="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BF9E852E-76A9-4AFA-982D-F5058F01E734}"/>
                </a:ext>
              </a:extLst>
            </p:cNvPr>
            <p:cNvSpPr/>
            <p:nvPr/>
          </p:nvSpPr>
          <p:spPr>
            <a:xfrm>
              <a:off x="11671767" y="114304"/>
              <a:ext cx="520233" cy="351169"/>
            </a:xfrm>
            <a:custGeom>
              <a:avLst/>
              <a:gdLst>
                <a:gd name="connsiteX0" fmla="*/ 337201 w 520233"/>
                <a:gd name="connsiteY0" fmla="*/ 0 h 351169"/>
                <a:gd name="connsiteX1" fmla="*/ 520233 w 520233"/>
                <a:gd name="connsiteY1" fmla="*/ 127191 h 351169"/>
                <a:gd name="connsiteX2" fmla="*/ 520233 w 520233"/>
                <a:gd name="connsiteY2" fmla="*/ 341190 h 351169"/>
                <a:gd name="connsiteX3" fmla="*/ 506753 w 520233"/>
                <a:gd name="connsiteY3" fmla="*/ 350534 h 351169"/>
                <a:gd name="connsiteX4" fmla="*/ 338470 w 520233"/>
                <a:gd name="connsiteY4" fmla="*/ 234959 h 351169"/>
                <a:gd name="connsiteX5" fmla="*/ 337201 w 520233"/>
                <a:gd name="connsiteY5" fmla="*/ 233689 h 351169"/>
                <a:gd name="connsiteX6" fmla="*/ 168283 w 520233"/>
                <a:gd name="connsiteY6" fmla="*/ 351169 h 351169"/>
                <a:gd name="connsiteX7" fmla="*/ 0 w 520233"/>
                <a:gd name="connsiteY7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0233" h="351169">
                  <a:moveTo>
                    <a:pt x="337201" y="0"/>
                  </a:moveTo>
                  <a:lnTo>
                    <a:pt x="520233" y="127191"/>
                  </a:lnTo>
                  <a:lnTo>
                    <a:pt x="520233" y="341190"/>
                  </a:lnTo>
                  <a:lnTo>
                    <a:pt x="506753" y="350534"/>
                  </a:lnTo>
                  <a:lnTo>
                    <a:pt x="338470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8278867D-9845-41CD-9C1B-2C0F9F088860}"/>
                </a:ext>
              </a:extLst>
            </p:cNvPr>
            <p:cNvSpPr/>
            <p:nvPr/>
          </p:nvSpPr>
          <p:spPr>
            <a:xfrm>
              <a:off x="11670496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C2D1F093-2428-48D1-AFBE-5FBE6F8942B6}"/>
                </a:ext>
              </a:extLst>
            </p:cNvPr>
            <p:cNvSpPr/>
            <p:nvPr/>
          </p:nvSpPr>
          <p:spPr>
            <a:xfrm>
              <a:off x="11500944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C48140A8-EB20-43FC-9AF3-93CA956AEFCF}"/>
                </a:ext>
              </a:extLst>
            </p:cNvPr>
            <p:cNvSpPr/>
            <p:nvPr/>
          </p:nvSpPr>
          <p:spPr>
            <a:xfrm>
              <a:off x="10991650" y="114304"/>
              <a:ext cx="673766" cy="351169"/>
            </a:xfrm>
            <a:custGeom>
              <a:avLst/>
              <a:gdLst>
                <a:gd name="connsiteX0" fmla="*/ 506118 w 673766"/>
                <a:gd name="connsiteY0" fmla="*/ 350534 h 351169"/>
                <a:gd name="connsiteX1" fmla="*/ 337836 w 673766"/>
                <a:gd name="connsiteY1" fmla="*/ 234959 h 351169"/>
                <a:gd name="connsiteX2" fmla="*/ 336566 w 673766"/>
                <a:gd name="connsiteY2" fmla="*/ 233689 h 351169"/>
                <a:gd name="connsiteX3" fmla="*/ 167647 w 673766"/>
                <a:gd name="connsiteY3" fmla="*/ 351169 h 351169"/>
                <a:gd name="connsiteX4" fmla="*/ 0 w 673766"/>
                <a:gd name="connsiteY4" fmla="*/ 234324 h 351169"/>
                <a:gd name="connsiteX5" fmla="*/ 336566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8" y="350534"/>
                  </a:moveTo>
                  <a:lnTo>
                    <a:pt x="337836" y="234959"/>
                  </a:lnTo>
                  <a:lnTo>
                    <a:pt x="336566" y="233689"/>
                  </a:lnTo>
                  <a:lnTo>
                    <a:pt x="167647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B0F3385C-F6F0-4C33-8458-D8C90CE82D15}"/>
                </a:ext>
              </a:extLst>
            </p:cNvPr>
            <p:cNvSpPr/>
            <p:nvPr/>
          </p:nvSpPr>
          <p:spPr>
            <a:xfrm>
              <a:off x="10989744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B3E02B83-1125-4D5E-8F4E-884384991001}"/>
                </a:ext>
              </a:extLst>
            </p:cNvPr>
            <p:cNvSpPr/>
            <p:nvPr/>
          </p:nvSpPr>
          <p:spPr>
            <a:xfrm>
              <a:off x="10820192" y="351804"/>
              <a:ext cx="166377" cy="229879"/>
            </a:xfrm>
            <a:custGeom>
              <a:avLst/>
              <a:gdLst>
                <a:gd name="connsiteX0" fmla="*/ 166378 w 166377"/>
                <a:gd name="connsiteY0" fmla="*/ 229879 h 229879"/>
                <a:gd name="connsiteX1" fmla="*/ 0 w 166377"/>
                <a:gd name="connsiteY1" fmla="*/ 115575 h 229879"/>
                <a:gd name="connsiteX2" fmla="*/ 166378 w 166377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166378" y="229879"/>
                  </a:moveTo>
                  <a:lnTo>
                    <a:pt x="0" y="115575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6089D650-0B12-4732-9F6A-6B5AC1A65BB1}"/>
                </a:ext>
              </a:extLst>
            </p:cNvPr>
            <p:cNvSpPr/>
            <p:nvPr/>
          </p:nvSpPr>
          <p:spPr>
            <a:xfrm>
              <a:off x="10310898" y="114304"/>
              <a:ext cx="673766" cy="351169"/>
            </a:xfrm>
            <a:custGeom>
              <a:avLst/>
              <a:gdLst>
                <a:gd name="connsiteX0" fmla="*/ 506119 w 673766"/>
                <a:gd name="connsiteY0" fmla="*/ 350534 h 351169"/>
                <a:gd name="connsiteX1" fmla="*/ 337836 w 673766"/>
                <a:gd name="connsiteY1" fmla="*/ 234959 h 351169"/>
                <a:gd name="connsiteX2" fmla="*/ 336566 w 673766"/>
                <a:gd name="connsiteY2" fmla="*/ 233689 h 351169"/>
                <a:gd name="connsiteX3" fmla="*/ 168283 w 673766"/>
                <a:gd name="connsiteY3" fmla="*/ 351169 h 351169"/>
                <a:gd name="connsiteX4" fmla="*/ 0 w 673766"/>
                <a:gd name="connsiteY4" fmla="*/ 234324 h 351169"/>
                <a:gd name="connsiteX5" fmla="*/ 336566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9" y="350534"/>
                  </a:moveTo>
                  <a:lnTo>
                    <a:pt x="337836" y="234959"/>
                  </a:lnTo>
                  <a:lnTo>
                    <a:pt x="336566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6566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A3FD1BDB-23E4-4746-B6DA-31C8A2085331}"/>
                </a:ext>
              </a:extLst>
            </p:cNvPr>
            <p:cNvSpPr/>
            <p:nvPr/>
          </p:nvSpPr>
          <p:spPr>
            <a:xfrm>
              <a:off x="10308993" y="0"/>
              <a:ext cx="337201" cy="344820"/>
            </a:xfrm>
            <a:custGeom>
              <a:avLst/>
              <a:gdLst>
                <a:gd name="connsiteX0" fmla="*/ 161673 w 337201"/>
                <a:gd name="connsiteY0" fmla="*/ 0 h 344820"/>
                <a:gd name="connsiteX1" fmla="*/ 337201 w 337201"/>
                <a:gd name="connsiteY1" fmla="*/ 0 h 344820"/>
                <a:gd name="connsiteX2" fmla="*/ 337201 w 337201"/>
                <a:gd name="connsiteY2" fmla="*/ 111130 h 344820"/>
                <a:gd name="connsiteX3" fmla="*/ 0 w 337201"/>
                <a:gd name="connsiteY3" fmla="*/ 344820 h 344820"/>
                <a:gd name="connsiteX4" fmla="*/ 0 w 337201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201" h="344820">
                  <a:moveTo>
                    <a:pt x="161673" y="0"/>
                  </a:moveTo>
                  <a:lnTo>
                    <a:pt x="337201" y="0"/>
                  </a:lnTo>
                  <a:lnTo>
                    <a:pt x="337201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75E73E8D-0CB2-4C98-997E-10FB17A4D86A}"/>
                </a:ext>
              </a:extLst>
            </p:cNvPr>
            <p:cNvSpPr/>
            <p:nvPr/>
          </p:nvSpPr>
          <p:spPr>
            <a:xfrm>
              <a:off x="10139440" y="351804"/>
              <a:ext cx="166377" cy="229879"/>
            </a:xfrm>
            <a:custGeom>
              <a:avLst/>
              <a:gdLst>
                <a:gd name="connsiteX0" fmla="*/ 166378 w 166377"/>
                <a:gd name="connsiteY0" fmla="*/ 229879 h 229879"/>
                <a:gd name="connsiteX1" fmla="*/ 0 w 166377"/>
                <a:gd name="connsiteY1" fmla="*/ 115575 h 229879"/>
                <a:gd name="connsiteX2" fmla="*/ 166378 w 166377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377" h="229879">
                  <a:moveTo>
                    <a:pt x="166378" y="229879"/>
                  </a:moveTo>
                  <a:lnTo>
                    <a:pt x="0" y="115575"/>
                  </a:lnTo>
                  <a:lnTo>
                    <a:pt x="166378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C3A0EF31-8BF9-470C-A4B4-392CAB6D6DEA}"/>
                </a:ext>
              </a:extLst>
            </p:cNvPr>
            <p:cNvSpPr/>
            <p:nvPr/>
          </p:nvSpPr>
          <p:spPr>
            <a:xfrm>
              <a:off x="9630146" y="114304"/>
              <a:ext cx="673766" cy="351169"/>
            </a:xfrm>
            <a:custGeom>
              <a:avLst/>
              <a:gdLst>
                <a:gd name="connsiteX0" fmla="*/ 506118 w 673766"/>
                <a:gd name="connsiteY0" fmla="*/ 350534 h 351169"/>
                <a:gd name="connsiteX1" fmla="*/ 337836 w 673766"/>
                <a:gd name="connsiteY1" fmla="*/ 234959 h 351169"/>
                <a:gd name="connsiteX2" fmla="*/ 337201 w 673766"/>
                <a:gd name="connsiteY2" fmla="*/ 233689 h 351169"/>
                <a:gd name="connsiteX3" fmla="*/ 168283 w 673766"/>
                <a:gd name="connsiteY3" fmla="*/ 351169 h 351169"/>
                <a:gd name="connsiteX4" fmla="*/ 0 w 673766"/>
                <a:gd name="connsiteY4" fmla="*/ 234324 h 351169"/>
                <a:gd name="connsiteX5" fmla="*/ 337201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8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8EF88757-211A-42D3-B430-A9E7602F78A8}"/>
                </a:ext>
              </a:extLst>
            </p:cNvPr>
            <p:cNvSpPr/>
            <p:nvPr userDrawn="1"/>
          </p:nvSpPr>
          <p:spPr>
            <a:xfrm>
              <a:off x="9628875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010352C5-C01F-40B3-9403-CE6795763295}"/>
                </a:ext>
              </a:extLst>
            </p:cNvPr>
            <p:cNvSpPr/>
            <p:nvPr/>
          </p:nvSpPr>
          <p:spPr>
            <a:xfrm>
              <a:off x="9459323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151814D9-77E1-4C5C-8B42-2DDFAAC5F123}"/>
                </a:ext>
              </a:extLst>
            </p:cNvPr>
            <p:cNvSpPr/>
            <p:nvPr userDrawn="1"/>
          </p:nvSpPr>
          <p:spPr>
            <a:xfrm>
              <a:off x="8949395" y="114304"/>
              <a:ext cx="673766" cy="351169"/>
            </a:xfrm>
            <a:custGeom>
              <a:avLst/>
              <a:gdLst>
                <a:gd name="connsiteX0" fmla="*/ 506119 w 673766"/>
                <a:gd name="connsiteY0" fmla="*/ 350534 h 351169"/>
                <a:gd name="connsiteX1" fmla="*/ 337836 w 673766"/>
                <a:gd name="connsiteY1" fmla="*/ 234959 h 351169"/>
                <a:gd name="connsiteX2" fmla="*/ 337201 w 673766"/>
                <a:gd name="connsiteY2" fmla="*/ 233689 h 351169"/>
                <a:gd name="connsiteX3" fmla="*/ 168283 w 673766"/>
                <a:gd name="connsiteY3" fmla="*/ 351169 h 351169"/>
                <a:gd name="connsiteX4" fmla="*/ 0 w 673766"/>
                <a:gd name="connsiteY4" fmla="*/ 234324 h 351169"/>
                <a:gd name="connsiteX5" fmla="*/ 337201 w 673766"/>
                <a:gd name="connsiteY5" fmla="*/ 0 h 351169"/>
                <a:gd name="connsiteX6" fmla="*/ 673766 w 673766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3766" h="351169">
                  <a:moveTo>
                    <a:pt x="506119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3766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2D465644-1F10-4B91-9D40-A96283500782}"/>
                </a:ext>
              </a:extLst>
            </p:cNvPr>
            <p:cNvSpPr/>
            <p:nvPr/>
          </p:nvSpPr>
          <p:spPr>
            <a:xfrm>
              <a:off x="8948123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A159563C-ED59-4204-B09F-15A85D7EF919}"/>
                </a:ext>
              </a:extLst>
            </p:cNvPr>
            <p:cNvSpPr/>
            <p:nvPr/>
          </p:nvSpPr>
          <p:spPr>
            <a:xfrm>
              <a:off x="8778571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2ED37143-7EC6-4544-92F1-59DC8DD29A7A}"/>
                </a:ext>
              </a:extLst>
            </p:cNvPr>
            <p:cNvSpPr/>
            <p:nvPr userDrawn="1"/>
          </p:nvSpPr>
          <p:spPr>
            <a:xfrm>
              <a:off x="8268643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7836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2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2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3A007D98-3210-4F34-B99E-F4A2C476EA2B}"/>
                </a:ext>
              </a:extLst>
            </p:cNvPr>
            <p:cNvSpPr/>
            <p:nvPr userDrawn="1"/>
          </p:nvSpPr>
          <p:spPr>
            <a:xfrm>
              <a:off x="8267371" y="0"/>
              <a:ext cx="336566" cy="344820"/>
            </a:xfrm>
            <a:custGeom>
              <a:avLst/>
              <a:gdLst>
                <a:gd name="connsiteX0" fmla="*/ 161368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8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0CEE2DAB-1C51-463E-978C-E52C3D3428DB}"/>
                </a:ext>
              </a:extLst>
            </p:cNvPr>
            <p:cNvSpPr/>
            <p:nvPr/>
          </p:nvSpPr>
          <p:spPr>
            <a:xfrm>
              <a:off x="8097819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A535C535-6FE7-45F9-93BC-7A70BEE1B0BF}"/>
                </a:ext>
              </a:extLst>
            </p:cNvPr>
            <p:cNvSpPr/>
            <p:nvPr/>
          </p:nvSpPr>
          <p:spPr>
            <a:xfrm>
              <a:off x="7587891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7836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2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2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A4434797-CD11-4664-96F3-F3533D6580FB}"/>
                </a:ext>
              </a:extLst>
            </p:cNvPr>
            <p:cNvSpPr/>
            <p:nvPr userDrawn="1"/>
          </p:nvSpPr>
          <p:spPr>
            <a:xfrm>
              <a:off x="7586620" y="0"/>
              <a:ext cx="336566" cy="344820"/>
            </a:xfrm>
            <a:custGeom>
              <a:avLst/>
              <a:gdLst>
                <a:gd name="connsiteX0" fmla="*/ 161369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9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1DD0A4C6-EFD6-4D88-B861-897105EEE6F6}"/>
                </a:ext>
              </a:extLst>
            </p:cNvPr>
            <p:cNvSpPr/>
            <p:nvPr/>
          </p:nvSpPr>
          <p:spPr>
            <a:xfrm>
              <a:off x="7417068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92179288-FCEF-4517-8E25-D248CA24437B}"/>
                </a:ext>
              </a:extLst>
            </p:cNvPr>
            <p:cNvSpPr/>
            <p:nvPr userDrawn="1"/>
          </p:nvSpPr>
          <p:spPr>
            <a:xfrm>
              <a:off x="6907139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7836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1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7836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1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E2023F14-AC0A-446C-A261-39C0404C5812}"/>
                </a:ext>
              </a:extLst>
            </p:cNvPr>
            <p:cNvSpPr/>
            <p:nvPr/>
          </p:nvSpPr>
          <p:spPr>
            <a:xfrm>
              <a:off x="6905868" y="0"/>
              <a:ext cx="336566" cy="344820"/>
            </a:xfrm>
            <a:custGeom>
              <a:avLst/>
              <a:gdLst>
                <a:gd name="connsiteX0" fmla="*/ 161369 w 336566"/>
                <a:gd name="connsiteY0" fmla="*/ 0 h 344820"/>
                <a:gd name="connsiteX1" fmla="*/ 336566 w 336566"/>
                <a:gd name="connsiteY1" fmla="*/ 0 h 344820"/>
                <a:gd name="connsiteX2" fmla="*/ 336566 w 336566"/>
                <a:gd name="connsiteY2" fmla="*/ 111130 h 344820"/>
                <a:gd name="connsiteX3" fmla="*/ 0 w 336566"/>
                <a:gd name="connsiteY3" fmla="*/ 344820 h 344820"/>
                <a:gd name="connsiteX4" fmla="*/ 0 w 336566"/>
                <a:gd name="connsiteY4" fmla="*/ 111130 h 34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66" h="344820">
                  <a:moveTo>
                    <a:pt x="161369" y="0"/>
                  </a:moveTo>
                  <a:lnTo>
                    <a:pt x="336566" y="0"/>
                  </a:lnTo>
                  <a:lnTo>
                    <a:pt x="336566" y="111130"/>
                  </a:lnTo>
                  <a:lnTo>
                    <a:pt x="0" y="344820"/>
                  </a:lnTo>
                  <a:lnTo>
                    <a:pt x="0" y="11113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3B9A4A1F-27A7-4809-9137-6DE1AA963074}"/>
                </a:ext>
              </a:extLst>
            </p:cNvPr>
            <p:cNvSpPr/>
            <p:nvPr/>
          </p:nvSpPr>
          <p:spPr>
            <a:xfrm>
              <a:off x="6736316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1A508872-D437-4AAE-A6BF-384A0F9DE3CA}"/>
                </a:ext>
              </a:extLst>
            </p:cNvPr>
            <p:cNvSpPr/>
            <p:nvPr/>
          </p:nvSpPr>
          <p:spPr>
            <a:xfrm>
              <a:off x="6226387" y="114304"/>
              <a:ext cx="674401" cy="351169"/>
            </a:xfrm>
            <a:custGeom>
              <a:avLst/>
              <a:gdLst>
                <a:gd name="connsiteX0" fmla="*/ 506754 w 674401"/>
                <a:gd name="connsiteY0" fmla="*/ 350534 h 351169"/>
                <a:gd name="connsiteX1" fmla="*/ 338471 w 674401"/>
                <a:gd name="connsiteY1" fmla="*/ 234959 h 351169"/>
                <a:gd name="connsiteX2" fmla="*/ 337201 w 674401"/>
                <a:gd name="connsiteY2" fmla="*/ 233689 h 351169"/>
                <a:gd name="connsiteX3" fmla="*/ 168283 w 674401"/>
                <a:gd name="connsiteY3" fmla="*/ 351169 h 351169"/>
                <a:gd name="connsiteX4" fmla="*/ 0 w 674401"/>
                <a:gd name="connsiteY4" fmla="*/ 234324 h 351169"/>
                <a:gd name="connsiteX5" fmla="*/ 337201 w 674401"/>
                <a:gd name="connsiteY5" fmla="*/ 0 h 351169"/>
                <a:gd name="connsiteX6" fmla="*/ 674402 w 674401"/>
                <a:gd name="connsiteY6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401" h="351169">
                  <a:moveTo>
                    <a:pt x="506754" y="350534"/>
                  </a:moveTo>
                  <a:lnTo>
                    <a:pt x="338471" y="234959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lnTo>
                    <a:pt x="337201" y="0"/>
                  </a:lnTo>
                  <a:lnTo>
                    <a:pt x="674402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A96B18E4-DF96-43F9-BAD5-412F5147C0D3}"/>
                </a:ext>
              </a:extLst>
            </p:cNvPr>
            <p:cNvSpPr/>
            <p:nvPr/>
          </p:nvSpPr>
          <p:spPr>
            <a:xfrm>
              <a:off x="6055564" y="351804"/>
              <a:ext cx="165742" cy="229879"/>
            </a:xfrm>
            <a:custGeom>
              <a:avLst/>
              <a:gdLst>
                <a:gd name="connsiteX0" fmla="*/ 165743 w 165742"/>
                <a:gd name="connsiteY0" fmla="*/ 229879 h 229879"/>
                <a:gd name="connsiteX1" fmla="*/ 0 w 165742"/>
                <a:gd name="connsiteY1" fmla="*/ 115575 h 229879"/>
                <a:gd name="connsiteX2" fmla="*/ 165743 w 165742"/>
                <a:gd name="connsiteY2" fmla="*/ 0 h 22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879">
                  <a:moveTo>
                    <a:pt x="165743" y="229879"/>
                  </a:moveTo>
                  <a:lnTo>
                    <a:pt x="0" y="115575"/>
                  </a:lnTo>
                  <a:lnTo>
                    <a:pt x="165743" y="0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8C1FFDA1-FD48-4A88-A990-D2FDA3D62DFC}"/>
                </a:ext>
              </a:extLst>
            </p:cNvPr>
            <p:cNvSpPr/>
            <p:nvPr/>
          </p:nvSpPr>
          <p:spPr>
            <a:xfrm>
              <a:off x="11670497" y="3190367"/>
              <a:ext cx="336565" cy="702973"/>
            </a:xfrm>
            <a:custGeom>
              <a:avLst/>
              <a:gdLst>
                <a:gd name="connsiteX0" fmla="*/ 0 w 336565"/>
                <a:gd name="connsiteY0" fmla="*/ 468649 h 702973"/>
                <a:gd name="connsiteX1" fmla="*/ 0 w 336565"/>
                <a:gd name="connsiteY1" fmla="*/ 0 h 702973"/>
                <a:gd name="connsiteX2" fmla="*/ 167648 w 336565"/>
                <a:gd name="connsiteY2" fmla="*/ 116845 h 702973"/>
                <a:gd name="connsiteX3" fmla="*/ 167648 w 336565"/>
                <a:gd name="connsiteY3" fmla="*/ 351804 h 702973"/>
                <a:gd name="connsiteX4" fmla="*/ 336566 w 336565"/>
                <a:gd name="connsiteY4" fmla="*/ 468649 h 702973"/>
                <a:gd name="connsiteX5" fmla="*/ 336566 w 336565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0" y="468649"/>
                  </a:moveTo>
                  <a:lnTo>
                    <a:pt x="0" y="0"/>
                  </a:lnTo>
                  <a:lnTo>
                    <a:pt x="167648" y="116845"/>
                  </a:lnTo>
                  <a:lnTo>
                    <a:pt x="167648" y="351804"/>
                  </a:lnTo>
                  <a:lnTo>
                    <a:pt x="336566" y="468649"/>
                  </a:lnTo>
                  <a:lnTo>
                    <a:pt x="336566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C5B7005F-22C0-4AEF-AC6A-0F2F428A68D2}"/>
                </a:ext>
              </a:extLst>
            </p:cNvPr>
            <p:cNvSpPr/>
            <p:nvPr/>
          </p:nvSpPr>
          <p:spPr>
            <a:xfrm>
              <a:off x="11841955" y="3191002"/>
              <a:ext cx="333390" cy="463568"/>
            </a:xfrm>
            <a:custGeom>
              <a:avLst/>
              <a:gdLst>
                <a:gd name="connsiteX0" fmla="*/ 166378 w 333390"/>
                <a:gd name="connsiteY0" fmla="*/ 231149 h 463568"/>
                <a:gd name="connsiteX1" fmla="*/ 165108 w 333390"/>
                <a:gd name="connsiteY1" fmla="*/ 231784 h 463568"/>
                <a:gd name="connsiteX2" fmla="*/ 165108 w 333390"/>
                <a:gd name="connsiteY2" fmla="*/ 463569 h 463568"/>
                <a:gd name="connsiteX3" fmla="*/ 0 w 333390"/>
                <a:gd name="connsiteY3" fmla="*/ 349264 h 463568"/>
                <a:gd name="connsiteX4" fmla="*/ 0 w 333390"/>
                <a:gd name="connsiteY4" fmla="*/ 116210 h 463568"/>
                <a:gd name="connsiteX5" fmla="*/ 167013 w 333390"/>
                <a:gd name="connsiteY5" fmla="*/ 0 h 463568"/>
                <a:gd name="connsiteX6" fmla="*/ 333391 w 333390"/>
                <a:gd name="connsiteY6" fmla="*/ 114939 h 46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3390" h="463568">
                  <a:moveTo>
                    <a:pt x="166378" y="231149"/>
                  </a:moveTo>
                  <a:lnTo>
                    <a:pt x="165108" y="231784"/>
                  </a:lnTo>
                  <a:lnTo>
                    <a:pt x="165108" y="463569"/>
                  </a:lnTo>
                  <a:lnTo>
                    <a:pt x="0" y="349264"/>
                  </a:lnTo>
                  <a:lnTo>
                    <a:pt x="0" y="116210"/>
                  </a:lnTo>
                  <a:lnTo>
                    <a:pt x="167013" y="0"/>
                  </a:lnTo>
                  <a:lnTo>
                    <a:pt x="333391" y="1149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D81983A4-BE29-4A95-909E-7E65C8CA44F4}"/>
                </a:ext>
              </a:extLst>
            </p:cNvPr>
            <p:cNvSpPr/>
            <p:nvPr/>
          </p:nvSpPr>
          <p:spPr>
            <a:xfrm>
              <a:off x="12010873" y="3427232"/>
              <a:ext cx="164472" cy="227339"/>
            </a:xfrm>
            <a:custGeom>
              <a:avLst/>
              <a:gdLst>
                <a:gd name="connsiteX0" fmla="*/ 0 w 164472"/>
                <a:gd name="connsiteY0" fmla="*/ 0 h 227339"/>
                <a:gd name="connsiteX1" fmla="*/ 164472 w 164472"/>
                <a:gd name="connsiteY1" fmla="*/ 114305 h 227339"/>
                <a:gd name="connsiteX2" fmla="*/ 0 w 164472"/>
                <a:gd name="connsiteY2" fmla="*/ 227339 h 227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339">
                  <a:moveTo>
                    <a:pt x="0" y="0"/>
                  </a:moveTo>
                  <a:lnTo>
                    <a:pt x="164472" y="114305"/>
                  </a:lnTo>
                  <a:lnTo>
                    <a:pt x="0" y="22733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4CE6400B-0FC2-4700-9828-B12438946AF8}"/>
                </a:ext>
              </a:extLst>
            </p:cNvPr>
            <p:cNvSpPr/>
            <p:nvPr/>
          </p:nvSpPr>
          <p:spPr>
            <a:xfrm>
              <a:off x="12012143" y="3307847"/>
              <a:ext cx="179857" cy="231149"/>
            </a:xfrm>
            <a:custGeom>
              <a:avLst/>
              <a:gdLst>
                <a:gd name="connsiteX0" fmla="*/ 166377 w 179857"/>
                <a:gd name="connsiteY0" fmla="*/ 0 h 231149"/>
                <a:gd name="connsiteX1" fmla="*/ 179857 w 179857"/>
                <a:gd name="connsiteY1" fmla="*/ 9293 h 231149"/>
                <a:gd name="connsiteX2" fmla="*/ 179857 w 179857"/>
                <a:gd name="connsiteY2" fmla="*/ 221856 h 231149"/>
                <a:gd name="connsiteX3" fmla="*/ 166377 w 179857"/>
                <a:gd name="connsiteY3" fmla="*/ 231149 h 231149"/>
                <a:gd name="connsiteX4" fmla="*/ 0 w 179857"/>
                <a:gd name="connsiteY4" fmla="*/ 115574 h 231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7" h="231149">
                  <a:moveTo>
                    <a:pt x="166377" y="0"/>
                  </a:moveTo>
                  <a:lnTo>
                    <a:pt x="179857" y="9293"/>
                  </a:lnTo>
                  <a:lnTo>
                    <a:pt x="179857" y="221856"/>
                  </a:lnTo>
                  <a:lnTo>
                    <a:pt x="166377" y="231149"/>
                  </a:lnTo>
                  <a:lnTo>
                    <a:pt x="0" y="1155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8D326F4A-8FB2-4511-8084-47F6E859F0E1}"/>
                </a:ext>
              </a:extLst>
            </p:cNvPr>
            <p:cNvSpPr/>
            <p:nvPr/>
          </p:nvSpPr>
          <p:spPr>
            <a:xfrm>
              <a:off x="11671767" y="2952868"/>
              <a:ext cx="520233" cy="351169"/>
            </a:xfrm>
            <a:custGeom>
              <a:avLst/>
              <a:gdLst>
                <a:gd name="connsiteX0" fmla="*/ 337201 w 520233"/>
                <a:gd name="connsiteY0" fmla="*/ 0 h 351169"/>
                <a:gd name="connsiteX1" fmla="*/ 520233 w 520233"/>
                <a:gd name="connsiteY1" fmla="*/ 127191 h 351169"/>
                <a:gd name="connsiteX2" fmla="*/ 520233 w 520233"/>
                <a:gd name="connsiteY2" fmla="*/ 341190 h 351169"/>
                <a:gd name="connsiteX3" fmla="*/ 506753 w 520233"/>
                <a:gd name="connsiteY3" fmla="*/ 350534 h 351169"/>
                <a:gd name="connsiteX4" fmla="*/ 338470 w 520233"/>
                <a:gd name="connsiteY4" fmla="*/ 234324 h 351169"/>
                <a:gd name="connsiteX5" fmla="*/ 337201 w 520233"/>
                <a:gd name="connsiteY5" fmla="*/ 233689 h 351169"/>
                <a:gd name="connsiteX6" fmla="*/ 168283 w 520233"/>
                <a:gd name="connsiteY6" fmla="*/ 351169 h 351169"/>
                <a:gd name="connsiteX7" fmla="*/ 0 w 520233"/>
                <a:gd name="connsiteY7" fmla="*/ 234324 h 35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0233" h="351169">
                  <a:moveTo>
                    <a:pt x="337201" y="0"/>
                  </a:moveTo>
                  <a:lnTo>
                    <a:pt x="520233" y="127191"/>
                  </a:lnTo>
                  <a:lnTo>
                    <a:pt x="520233" y="341190"/>
                  </a:lnTo>
                  <a:lnTo>
                    <a:pt x="506753" y="350534"/>
                  </a:lnTo>
                  <a:lnTo>
                    <a:pt x="338470" y="234324"/>
                  </a:lnTo>
                  <a:lnTo>
                    <a:pt x="337201" y="233689"/>
                  </a:lnTo>
                  <a:lnTo>
                    <a:pt x="168283" y="351169"/>
                  </a:lnTo>
                  <a:lnTo>
                    <a:pt x="0" y="23432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C0F129C2-F76E-4CA2-B0F8-79B49DD9F2F4}"/>
                </a:ext>
              </a:extLst>
            </p:cNvPr>
            <p:cNvSpPr/>
            <p:nvPr/>
          </p:nvSpPr>
          <p:spPr>
            <a:xfrm>
              <a:off x="11841320" y="2481044"/>
              <a:ext cx="165742" cy="229244"/>
            </a:xfrm>
            <a:custGeom>
              <a:avLst/>
              <a:gdLst>
                <a:gd name="connsiteX0" fmla="*/ 0 w 165742"/>
                <a:gd name="connsiteY0" fmla="*/ 114939 h 229244"/>
                <a:gd name="connsiteX1" fmla="*/ 165743 w 165742"/>
                <a:gd name="connsiteY1" fmla="*/ 0 h 229244"/>
                <a:gd name="connsiteX2" fmla="*/ 165743 w 165742"/>
                <a:gd name="connsiteY2" fmla="*/ 229244 h 22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742" h="229244">
                  <a:moveTo>
                    <a:pt x="0" y="114939"/>
                  </a:moveTo>
                  <a:lnTo>
                    <a:pt x="165743" y="0"/>
                  </a:lnTo>
                  <a:lnTo>
                    <a:pt x="165743" y="22924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07BBDF06-F339-4C7D-9F0B-7CC4505B44FC}"/>
                </a:ext>
              </a:extLst>
            </p:cNvPr>
            <p:cNvSpPr/>
            <p:nvPr/>
          </p:nvSpPr>
          <p:spPr>
            <a:xfrm>
              <a:off x="11670497" y="1771085"/>
              <a:ext cx="336565" cy="702973"/>
            </a:xfrm>
            <a:custGeom>
              <a:avLst/>
              <a:gdLst>
                <a:gd name="connsiteX0" fmla="*/ 0 w 336565"/>
                <a:gd name="connsiteY0" fmla="*/ 468649 h 702973"/>
                <a:gd name="connsiteX1" fmla="*/ 0 w 336565"/>
                <a:gd name="connsiteY1" fmla="*/ 0 h 702973"/>
                <a:gd name="connsiteX2" fmla="*/ 167648 w 336565"/>
                <a:gd name="connsiteY2" fmla="*/ 116845 h 702973"/>
                <a:gd name="connsiteX3" fmla="*/ 167648 w 336565"/>
                <a:gd name="connsiteY3" fmla="*/ 351804 h 702973"/>
                <a:gd name="connsiteX4" fmla="*/ 336566 w 336565"/>
                <a:gd name="connsiteY4" fmla="*/ 469284 h 702973"/>
                <a:gd name="connsiteX5" fmla="*/ 336566 w 336565"/>
                <a:gd name="connsiteY5" fmla="*/ 702973 h 70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565" h="702973">
                  <a:moveTo>
                    <a:pt x="0" y="468649"/>
                  </a:moveTo>
                  <a:lnTo>
                    <a:pt x="0" y="0"/>
                  </a:lnTo>
                  <a:lnTo>
                    <a:pt x="167648" y="116845"/>
                  </a:lnTo>
                  <a:lnTo>
                    <a:pt x="167648" y="351804"/>
                  </a:lnTo>
                  <a:lnTo>
                    <a:pt x="336566" y="469284"/>
                  </a:lnTo>
                  <a:lnTo>
                    <a:pt x="336566" y="702973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B972119F-0120-4776-9177-4CA767ED76ED}"/>
                </a:ext>
              </a:extLst>
            </p:cNvPr>
            <p:cNvSpPr/>
            <p:nvPr/>
          </p:nvSpPr>
          <p:spPr>
            <a:xfrm>
              <a:off x="12010873" y="2007950"/>
              <a:ext cx="164472" cy="227974"/>
            </a:xfrm>
            <a:custGeom>
              <a:avLst/>
              <a:gdLst>
                <a:gd name="connsiteX0" fmla="*/ 0 w 164472"/>
                <a:gd name="connsiteY0" fmla="*/ 0 h 227974"/>
                <a:gd name="connsiteX1" fmla="*/ 164472 w 164472"/>
                <a:gd name="connsiteY1" fmla="*/ 114305 h 227974"/>
                <a:gd name="connsiteX2" fmla="*/ 0 w 164472"/>
                <a:gd name="connsiteY2" fmla="*/ 227974 h 22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72" h="227974">
                  <a:moveTo>
                    <a:pt x="0" y="0"/>
                  </a:moveTo>
                  <a:lnTo>
                    <a:pt x="164472" y="114305"/>
                  </a:lnTo>
                  <a:lnTo>
                    <a:pt x="0" y="22797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AE34A160-7946-4FC7-BAD2-DF968F576F6C}"/>
                </a:ext>
              </a:extLst>
            </p:cNvPr>
            <p:cNvSpPr/>
            <p:nvPr/>
          </p:nvSpPr>
          <p:spPr>
            <a:xfrm>
              <a:off x="12012143" y="1888565"/>
              <a:ext cx="179857" cy="231784"/>
            </a:xfrm>
            <a:custGeom>
              <a:avLst/>
              <a:gdLst>
                <a:gd name="connsiteX0" fmla="*/ 166377 w 179857"/>
                <a:gd name="connsiteY0" fmla="*/ 0 h 231784"/>
                <a:gd name="connsiteX1" fmla="*/ 179857 w 179857"/>
                <a:gd name="connsiteY1" fmla="*/ 9293 h 231784"/>
                <a:gd name="connsiteX2" fmla="*/ 179857 w 179857"/>
                <a:gd name="connsiteY2" fmla="*/ 222440 h 231784"/>
                <a:gd name="connsiteX3" fmla="*/ 166377 w 179857"/>
                <a:gd name="connsiteY3" fmla="*/ 231784 h 231784"/>
                <a:gd name="connsiteX4" fmla="*/ 0 w 179857"/>
                <a:gd name="connsiteY4" fmla="*/ 115575 h 23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857" h="231784">
                  <a:moveTo>
                    <a:pt x="166377" y="0"/>
                  </a:moveTo>
                  <a:lnTo>
                    <a:pt x="179857" y="9293"/>
                  </a:lnTo>
                  <a:lnTo>
                    <a:pt x="179857" y="222440"/>
                  </a:lnTo>
                  <a:lnTo>
                    <a:pt x="166377" y="231784"/>
                  </a:lnTo>
                  <a:lnTo>
                    <a:pt x="0" y="11557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14A39ADA-FD0C-420E-B35E-AC4C8DD9C418}"/>
                </a:ext>
              </a:extLst>
            </p:cNvPr>
            <p:cNvSpPr/>
            <p:nvPr/>
          </p:nvSpPr>
          <p:spPr>
            <a:xfrm>
              <a:off x="12182332" y="1171879"/>
              <a:ext cx="9669" cy="245878"/>
            </a:xfrm>
            <a:custGeom>
              <a:avLst/>
              <a:gdLst>
                <a:gd name="connsiteX0" fmla="*/ 9669 w 9669"/>
                <a:gd name="connsiteY0" fmla="*/ 0 h 245878"/>
                <a:gd name="connsiteX1" fmla="*/ 9669 w 9669"/>
                <a:gd name="connsiteY1" fmla="*/ 245878 h 245878"/>
                <a:gd name="connsiteX2" fmla="*/ 0 w 9669"/>
                <a:gd name="connsiteY2" fmla="*/ 239147 h 245878"/>
                <a:gd name="connsiteX3" fmla="*/ 0 w 9669"/>
                <a:gd name="connsiteY3" fmla="*/ 6728 h 245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69" h="245878">
                  <a:moveTo>
                    <a:pt x="9669" y="0"/>
                  </a:moveTo>
                  <a:lnTo>
                    <a:pt x="9669" y="245878"/>
                  </a:lnTo>
                  <a:lnTo>
                    <a:pt x="0" y="239147"/>
                  </a:lnTo>
                  <a:lnTo>
                    <a:pt x="0" y="672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02993F14-D86D-4693-9634-31DAF85CB00E}"/>
                </a:ext>
              </a:extLst>
            </p:cNvPr>
            <p:cNvSpPr/>
            <p:nvPr/>
          </p:nvSpPr>
          <p:spPr>
            <a:xfrm>
              <a:off x="12010873" y="696009"/>
              <a:ext cx="181127" cy="358769"/>
            </a:xfrm>
            <a:custGeom>
              <a:avLst/>
              <a:gdLst>
                <a:gd name="connsiteX0" fmla="*/ 181127 w 181127"/>
                <a:gd name="connsiteY0" fmla="*/ 0 h 358769"/>
                <a:gd name="connsiteX1" fmla="*/ 181127 w 181127"/>
                <a:gd name="connsiteY1" fmla="*/ 232664 h 358769"/>
                <a:gd name="connsiteX2" fmla="*/ 0 w 181127"/>
                <a:gd name="connsiteY2" fmla="*/ 358769 h 358769"/>
                <a:gd name="connsiteX3" fmla="*/ 0 w 181127"/>
                <a:gd name="connsiteY3" fmla="*/ 125079 h 358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127" h="358769">
                  <a:moveTo>
                    <a:pt x="181127" y="0"/>
                  </a:moveTo>
                  <a:lnTo>
                    <a:pt x="181127" y="232664"/>
                  </a:lnTo>
                  <a:lnTo>
                    <a:pt x="0" y="358769"/>
                  </a:lnTo>
                  <a:lnTo>
                    <a:pt x="0" y="1250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2B84B4CA-E840-4345-AC03-108B7A72C639}"/>
                </a:ext>
              </a:extLst>
            </p:cNvPr>
            <p:cNvSpPr/>
            <p:nvPr/>
          </p:nvSpPr>
          <p:spPr>
            <a:xfrm>
              <a:off x="12010873" y="3534280"/>
              <a:ext cx="181127" cy="359061"/>
            </a:xfrm>
            <a:custGeom>
              <a:avLst/>
              <a:gdLst>
                <a:gd name="connsiteX0" fmla="*/ 181127 w 181127"/>
                <a:gd name="connsiteY0" fmla="*/ 0 h 359061"/>
                <a:gd name="connsiteX1" fmla="*/ 181127 w 181127"/>
                <a:gd name="connsiteY1" fmla="*/ 232957 h 359061"/>
                <a:gd name="connsiteX2" fmla="*/ 0 w 181127"/>
                <a:gd name="connsiteY2" fmla="*/ 359061 h 359061"/>
                <a:gd name="connsiteX3" fmla="*/ 0 w 181127"/>
                <a:gd name="connsiteY3" fmla="*/ 124737 h 359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127" h="359061">
                  <a:moveTo>
                    <a:pt x="181127" y="0"/>
                  </a:moveTo>
                  <a:lnTo>
                    <a:pt x="181127" y="232957"/>
                  </a:lnTo>
                  <a:lnTo>
                    <a:pt x="0" y="359061"/>
                  </a:lnTo>
                  <a:lnTo>
                    <a:pt x="0" y="124737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256EFF7B-6FBE-414D-AC40-7A050865D57A}"/>
                </a:ext>
              </a:extLst>
            </p:cNvPr>
            <p:cNvSpPr/>
            <p:nvPr/>
          </p:nvSpPr>
          <p:spPr>
            <a:xfrm>
              <a:off x="12182332" y="2591161"/>
              <a:ext cx="9669" cy="245878"/>
            </a:xfrm>
            <a:custGeom>
              <a:avLst/>
              <a:gdLst>
                <a:gd name="connsiteX0" fmla="*/ 9669 w 9669"/>
                <a:gd name="connsiteY0" fmla="*/ 0 h 245878"/>
                <a:gd name="connsiteX1" fmla="*/ 9669 w 9669"/>
                <a:gd name="connsiteY1" fmla="*/ 245878 h 245878"/>
                <a:gd name="connsiteX2" fmla="*/ 0 w 9669"/>
                <a:gd name="connsiteY2" fmla="*/ 239147 h 245878"/>
                <a:gd name="connsiteX3" fmla="*/ 0 w 9669"/>
                <a:gd name="connsiteY3" fmla="*/ 6728 h 245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69" h="245878">
                  <a:moveTo>
                    <a:pt x="9669" y="0"/>
                  </a:moveTo>
                  <a:lnTo>
                    <a:pt x="9669" y="245878"/>
                  </a:lnTo>
                  <a:lnTo>
                    <a:pt x="0" y="239147"/>
                  </a:lnTo>
                  <a:lnTo>
                    <a:pt x="0" y="6728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9" name="Freeform: Shape 388">
              <a:extLst>
                <a:ext uri="{FF2B5EF4-FFF2-40B4-BE49-F238E27FC236}">
                  <a16:creationId xmlns:a16="http://schemas.microsoft.com/office/drawing/2014/main" id="{99E3681D-30CE-4966-8C39-7DC52E67339E}"/>
                </a:ext>
              </a:extLst>
            </p:cNvPr>
            <p:cNvSpPr/>
            <p:nvPr userDrawn="1"/>
          </p:nvSpPr>
          <p:spPr>
            <a:xfrm>
              <a:off x="12010873" y="2115291"/>
              <a:ext cx="181127" cy="358769"/>
            </a:xfrm>
            <a:custGeom>
              <a:avLst/>
              <a:gdLst>
                <a:gd name="connsiteX0" fmla="*/ 181127 w 181127"/>
                <a:gd name="connsiteY0" fmla="*/ 0 h 358769"/>
                <a:gd name="connsiteX1" fmla="*/ 181127 w 181127"/>
                <a:gd name="connsiteY1" fmla="*/ 232664 h 358769"/>
                <a:gd name="connsiteX2" fmla="*/ 0 w 181127"/>
                <a:gd name="connsiteY2" fmla="*/ 358769 h 358769"/>
                <a:gd name="connsiteX3" fmla="*/ 0 w 181127"/>
                <a:gd name="connsiteY3" fmla="*/ 125079 h 358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1127" h="358769">
                  <a:moveTo>
                    <a:pt x="181127" y="0"/>
                  </a:moveTo>
                  <a:lnTo>
                    <a:pt x="181127" y="232664"/>
                  </a:lnTo>
                  <a:lnTo>
                    <a:pt x="0" y="358769"/>
                  </a:lnTo>
                  <a:lnTo>
                    <a:pt x="0" y="125079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0" name="Freeform: Shape 389">
              <a:extLst>
                <a:ext uri="{FF2B5EF4-FFF2-40B4-BE49-F238E27FC236}">
                  <a16:creationId xmlns:a16="http://schemas.microsoft.com/office/drawing/2014/main" id="{DAF59334-EE7F-45A9-A44F-43BE27EE5F4A}"/>
                </a:ext>
              </a:extLst>
            </p:cNvPr>
            <p:cNvSpPr/>
            <p:nvPr/>
          </p:nvSpPr>
          <p:spPr>
            <a:xfrm>
              <a:off x="12012143" y="933306"/>
              <a:ext cx="179857" cy="242125"/>
            </a:xfrm>
            <a:custGeom>
              <a:avLst/>
              <a:gdLst>
                <a:gd name="connsiteX0" fmla="*/ 179857 w 179857"/>
                <a:gd name="connsiteY0" fmla="*/ 0 h 242125"/>
                <a:gd name="connsiteX1" fmla="*/ 179857 w 179857"/>
                <a:gd name="connsiteY1" fmla="*/ 234076 h 242125"/>
                <a:gd name="connsiteX2" fmla="*/ 168283 w 179857"/>
                <a:gd name="connsiteY2" fmla="*/ 242125 h 242125"/>
                <a:gd name="connsiteX3" fmla="*/ 0 w 179857"/>
                <a:gd name="connsiteY3" fmla="*/ 124645 h 24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857" h="242125">
                  <a:moveTo>
                    <a:pt x="179857" y="0"/>
                  </a:moveTo>
                  <a:lnTo>
                    <a:pt x="179857" y="234076"/>
                  </a:lnTo>
                  <a:lnTo>
                    <a:pt x="168283" y="242125"/>
                  </a:lnTo>
                  <a:lnTo>
                    <a:pt x="0" y="124645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1" name="Freeform: Shape 390">
              <a:extLst>
                <a:ext uri="{FF2B5EF4-FFF2-40B4-BE49-F238E27FC236}">
                  <a16:creationId xmlns:a16="http://schemas.microsoft.com/office/drawing/2014/main" id="{A9BF5E58-59F7-450E-8083-A54DD5533A40}"/>
                </a:ext>
              </a:extLst>
            </p:cNvPr>
            <p:cNvSpPr/>
            <p:nvPr userDrawn="1"/>
          </p:nvSpPr>
          <p:spPr>
            <a:xfrm>
              <a:off x="12012143" y="2352249"/>
              <a:ext cx="179857" cy="242464"/>
            </a:xfrm>
            <a:custGeom>
              <a:avLst/>
              <a:gdLst>
                <a:gd name="connsiteX0" fmla="*/ 179857 w 179857"/>
                <a:gd name="connsiteY0" fmla="*/ 0 h 242464"/>
                <a:gd name="connsiteX1" fmla="*/ 179857 w 179857"/>
                <a:gd name="connsiteY1" fmla="*/ 234415 h 242464"/>
                <a:gd name="connsiteX2" fmla="*/ 168283 w 179857"/>
                <a:gd name="connsiteY2" fmla="*/ 242464 h 242464"/>
                <a:gd name="connsiteX3" fmla="*/ 0 w 179857"/>
                <a:gd name="connsiteY3" fmla="*/ 124984 h 242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857" h="242464">
                  <a:moveTo>
                    <a:pt x="179857" y="0"/>
                  </a:moveTo>
                  <a:lnTo>
                    <a:pt x="179857" y="234415"/>
                  </a:lnTo>
                  <a:lnTo>
                    <a:pt x="168283" y="242464"/>
                  </a:lnTo>
                  <a:lnTo>
                    <a:pt x="0" y="124984"/>
                  </a:lnTo>
                  <a:close/>
                </a:path>
              </a:pathLst>
            </a:custGeom>
            <a:noFill/>
            <a:ln w="3175" cap="flat">
              <a:solidFill>
                <a:schemeClr val="bg1">
                  <a:alpha val="3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6A190A09-38DF-44F3-867C-A471B79F10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51261" y="2832692"/>
            <a:ext cx="7140739" cy="4025309"/>
          </a:xfrm>
          <a:custGeom>
            <a:avLst/>
            <a:gdLst>
              <a:gd name="connsiteX0" fmla="*/ 5790363 w 7140739"/>
              <a:gd name="connsiteY0" fmla="*/ 0 h 4025309"/>
              <a:gd name="connsiteX1" fmla="*/ 7140739 w 7140739"/>
              <a:gd name="connsiteY1" fmla="*/ 938746 h 4025309"/>
              <a:gd name="connsiteX2" fmla="*/ 7140739 w 7140739"/>
              <a:gd name="connsiteY2" fmla="*/ 4025309 h 4025309"/>
              <a:gd name="connsiteX3" fmla="*/ 0 w 7140739"/>
              <a:gd name="connsiteY3" fmla="*/ 4025309 h 402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40739" h="4025309">
                <a:moveTo>
                  <a:pt x="5790363" y="0"/>
                </a:moveTo>
                <a:lnTo>
                  <a:pt x="7140739" y="938746"/>
                </a:lnTo>
                <a:lnTo>
                  <a:pt x="7140739" y="4025309"/>
                </a:lnTo>
                <a:lnTo>
                  <a:pt x="0" y="4025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7" name="Freeform 17">
            <a:extLst>
              <a:ext uri="{FF2B5EF4-FFF2-40B4-BE49-F238E27FC236}">
                <a16:creationId xmlns:a16="http://schemas.microsoft.com/office/drawing/2014/main" id="{B6240B64-00A8-4FE7-AA5A-4A2F8B98F2A4}"/>
              </a:ext>
            </a:extLst>
          </p:cNvPr>
          <p:cNvSpPr/>
          <p:nvPr userDrawn="1"/>
        </p:nvSpPr>
        <p:spPr>
          <a:xfrm rot="3299037" flipH="1" flipV="1">
            <a:off x="5974493" y="4464643"/>
            <a:ext cx="316395" cy="3206138"/>
          </a:xfrm>
          <a:custGeom>
            <a:avLst/>
            <a:gdLst>
              <a:gd name="connsiteX0" fmla="*/ 316395 w 316395"/>
              <a:gd name="connsiteY0" fmla="*/ 3162580 h 3206138"/>
              <a:gd name="connsiteX1" fmla="*/ 0 w 316395"/>
              <a:gd name="connsiteY1" fmla="*/ 3206138 h 3206138"/>
              <a:gd name="connsiteX2" fmla="*/ 0 w 316395"/>
              <a:gd name="connsiteY2" fmla="*/ 451589 h 3206138"/>
              <a:gd name="connsiteX3" fmla="*/ 316395 w 316395"/>
              <a:gd name="connsiteY3" fmla="*/ 0 h 320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395" h="3206138">
                <a:moveTo>
                  <a:pt x="316395" y="3162580"/>
                </a:moveTo>
                <a:lnTo>
                  <a:pt x="0" y="3206138"/>
                </a:lnTo>
                <a:lnTo>
                  <a:pt x="0" y="451589"/>
                </a:lnTo>
                <a:lnTo>
                  <a:pt x="3163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EC4703DF-3E8F-47BA-BB4F-7408A471CB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A6FAD8E-BF2F-4E8F-8FBC-5DBC65D769D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58F2F8-A64B-47AC-BB12-214DCFC4F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0" y="388800"/>
            <a:ext cx="5868000" cy="9900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04C4781-1C6F-4AD7-ABBE-AF369B7688D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4000" y="2250000"/>
            <a:ext cx="5868000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85096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3B73004-4686-45A1-8274-41087C5FBFF1}"/>
              </a:ext>
            </a:extLst>
          </p:cNvPr>
          <p:cNvSpPr/>
          <p:nvPr/>
        </p:nvSpPr>
        <p:spPr>
          <a:xfrm>
            <a:off x="0" y="0"/>
            <a:ext cx="12192000" cy="2020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550EB56-F093-422F-88D0-09655BF64A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020306"/>
          </a:xfrm>
          <a:prstGeom prst="rect">
            <a:avLst/>
          </a:prstGeom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2249826"/>
            <a:ext cx="11303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0927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3B73004-4686-45A1-8274-41087C5FBFF1}"/>
              </a:ext>
            </a:extLst>
          </p:cNvPr>
          <p:cNvSpPr/>
          <p:nvPr/>
        </p:nvSpPr>
        <p:spPr>
          <a:xfrm>
            <a:off x="0" y="0"/>
            <a:ext cx="12192000" cy="2020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550EB56-F093-422F-88D0-09655BF64A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020306"/>
          </a:xfrm>
          <a:prstGeom prst="rect">
            <a:avLst/>
          </a:prstGeom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01985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49B78C9-7BB7-49D7-954F-5AA9382FC932}"/>
              </a:ext>
            </a:extLst>
          </p:cNvPr>
          <p:cNvSpPr/>
          <p:nvPr userDrawn="1"/>
        </p:nvSpPr>
        <p:spPr>
          <a:xfrm rot="3341389" flipH="1">
            <a:off x="1622745" y="-3539070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0B949801-D1CB-4FAA-AA6A-7CA71D329D2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9D40800-6625-A94C-8460-63F6730AD1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7AB5DCBE-1D2A-43D5-A777-58863EDF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16A898-5A89-4CA5-9B40-95FBB2829B5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1BEBC27-A4DD-4672-8056-53320A57DF87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ECBC53C-7DFD-4D73-BD13-DCA234AEE22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761282A5-D45A-4A07-8CAF-7B8F97E7B8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D3BC51-7691-417E-9C98-81FFA8F3AC8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D5333B-D8D6-491C-8EAC-53588F8C3FC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2799" y="2249827"/>
            <a:ext cx="11303999" cy="388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41252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F1A244BB-4228-44A5-8696-0D94B4F1FD2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3855" y="-19896"/>
            <a:ext cx="12217165" cy="6891750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7165" h="6891750">
                <a:moveTo>
                  <a:pt x="5949525" y="0"/>
                </a:moveTo>
                <a:lnTo>
                  <a:pt x="12205854" y="4343205"/>
                </a:lnTo>
                <a:cubicBezTo>
                  <a:pt x="12209624" y="5192720"/>
                  <a:pt x="12213395" y="6042235"/>
                  <a:pt x="12217165" y="6891750"/>
                </a:cubicBezTo>
                <a:lnTo>
                  <a:pt x="4074250" y="6877896"/>
                </a:lnTo>
                <a:lnTo>
                  <a:pt x="13855" y="6850187"/>
                </a:lnTo>
                <a:cubicBezTo>
                  <a:pt x="9237" y="5081423"/>
                  <a:pt x="4618" y="3284951"/>
                  <a:pt x="0" y="1516187"/>
                </a:cubicBezTo>
                <a:lnTo>
                  <a:pt x="2161309" y="19896"/>
                </a:lnTo>
                <a:lnTo>
                  <a:pt x="594952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4434872"/>
            <a:ext cx="6397626" cy="121859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8" y="2335488"/>
            <a:ext cx="6443999" cy="381000"/>
          </a:xfrm>
          <a:prstGeom prst="rect">
            <a:avLst/>
          </a:prstGeom>
        </p:spPr>
        <p:txBody>
          <a:bodyPr lIns="0" tIns="0" rIns="360000" b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5C7979F-B5FA-491A-9674-811E416D3A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744" y="2999782"/>
            <a:ext cx="6454310" cy="990000"/>
          </a:xfrm>
        </p:spPr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eck</a:t>
            </a:r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D342A71-150A-4DD0-890A-40BFFDEFEE8B}"/>
              </a:ext>
            </a:extLst>
          </p:cNvPr>
          <p:cNvSpPr txBox="1">
            <a:spLocks/>
          </p:cNvSpPr>
          <p:nvPr userDrawn="1"/>
        </p:nvSpPr>
        <p:spPr>
          <a:xfrm>
            <a:off x="460744" y="6426211"/>
            <a:ext cx="2396518" cy="22225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46333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D11DE4A4-8A73-47DE-998E-AEEEE66D8A3D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225A138-8D03-4E68-8998-611A6F18F6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Footer Placeholder 3">
            <a:extLst>
              <a:ext uri="{FF2B5EF4-FFF2-40B4-BE49-F238E27FC236}">
                <a16:creationId xmlns:a16="http://schemas.microsoft.com/office/drawing/2014/main" id="{DBB6325D-B9C6-4FE6-85DB-5848971DF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76EB3F0-47D8-4109-9506-E465830BA77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98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49B78C9-7BB7-49D7-954F-5AA9382FC932}"/>
              </a:ext>
            </a:extLst>
          </p:cNvPr>
          <p:cNvSpPr/>
          <p:nvPr userDrawn="1"/>
        </p:nvSpPr>
        <p:spPr>
          <a:xfrm rot="3341389" flipH="1">
            <a:off x="1622745" y="-3539070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9D40800-6625-A94C-8460-63F6730AD1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7AB5DCBE-1D2A-43D5-A777-58863EDF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16A898-5A89-4CA5-9B40-95FBB2829B5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1BEBC27-A4DD-4672-8056-53320A57DF87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ECBC53C-7DFD-4D73-BD13-DCA234AEE22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761282A5-D45A-4A07-8CAF-7B8F97E7B8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D3BC51-7691-417E-9C98-81FFA8F3AC8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D5333B-D8D6-491C-8EAC-53588F8C3FC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42799" y="1773238"/>
            <a:ext cx="11303999" cy="43575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15121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29A718C-8EA9-4538-BF62-1949A8E15399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647A549A-FC78-4BF2-8AA4-4CBCED8E7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FFC3F-8A83-4C4D-A0C9-08E98B5913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F0A051F-2529-469D-B839-67D614047EC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07D8720-3D60-4190-9DDE-9EDFBA572D3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40B7391-998E-44BB-BB77-DAB3F7DB4F6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79836ED2-DE7B-4C2F-8063-36095654B5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D405AEB-0FA0-4F4B-A7C1-81C09A14F48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2818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F6318C5-3E8C-4027-8ADE-94D6DFF893DF}"/>
              </a:ext>
            </a:extLst>
          </p:cNvPr>
          <p:cNvSpPr/>
          <p:nvPr userDrawn="1"/>
        </p:nvSpPr>
        <p:spPr>
          <a:xfrm rot="3341389" flipH="1">
            <a:off x="1613714" y="-3539070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B0EA591-0F76-4C5D-A80F-BE3FFDBDE3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5F455DBC-1E38-439B-BEB5-04B5EAD319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D630176-F6B5-47F2-8078-132CA09BA10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35BF33-BB6E-45E7-8DA2-B771B41B93E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799" y="2249826"/>
            <a:ext cx="5399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99B19804-BB2B-4735-8B2C-A604FF50836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46799" y="2249826"/>
            <a:ext cx="5399999" cy="3888000"/>
          </a:xfrm>
        </p:spPr>
        <p:txBody>
          <a:bodyPr/>
          <a:lstStyle/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4987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E31D0D1B-F029-4724-91D9-7B2EC70CC70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4339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F69E03D5-567B-4B07-A3E5-6CE33427C21E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4581D52-5A11-4CEF-A19A-C47F763A7B43}"/>
              </a:ext>
            </a:extLst>
          </p:cNvPr>
          <p:cNvSpPr/>
          <p:nvPr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1"/>
              </a:gs>
              <a:gs pos="98000">
                <a:srgbClr val="073262"/>
              </a:gs>
              <a:gs pos="33000">
                <a:schemeClr val="accent2"/>
              </a:gs>
              <a:gs pos="0">
                <a:srgbClr val="073262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800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3728C49-8B97-44DE-B314-372422AECD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9C4AAAD0-4193-42FD-A688-B0CD9CED6745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E2A8F19F-DE6E-4F6F-B1FB-F82B517C455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71EA3C23-FE46-4BD5-AC99-6025EBCE08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4766BF9-5F7D-49F6-81BD-0B4EBA1BC19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39C241-A37E-4FB1-AB6F-5454AC48439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2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B9B68F2-D439-4594-AC54-2D97003187A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370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49A707FB-2749-4A62-9BFA-375267A10C6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98799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D3ACC19A-B912-4B59-B8C0-B7B50203303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226798" y="2249826"/>
            <a:ext cx="252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74302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E31D0D1B-F029-4724-91D9-7B2EC70CC70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360925D-64BD-4B3C-8A81-8518ADDBB2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42799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0383EBB-A0B3-47F7-87D6-8932F29B6F8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799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390A7376-F8D9-485E-ACF1-C6D581D91DF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254798" y="4412359"/>
            <a:ext cx="3492000" cy="172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33064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Objec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E24698DA-4B02-4E60-99E2-B768DD7EF604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6DCDD012-C59E-408C-9BC6-87284E8CBC4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46798" y="2249827"/>
            <a:ext cx="5400000" cy="3096000"/>
          </a:xfrm>
          <a:prstGeom prst="rect">
            <a:avLst/>
          </a:prstGeom>
        </p:spPr>
        <p:txBody>
          <a:bodyPr anchor="ctr" anchorCtr="0"/>
          <a:lstStyle>
            <a:lvl1pPr algn="ctr"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CBDA8CD-2DCF-4C62-A004-4DB0541924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6798" y="5448612"/>
            <a:ext cx="5400000" cy="68921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2pPr>
            <a:lvl3pPr marL="269875" indent="-269875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sz="1400">
                <a:solidFill>
                  <a:schemeClr val="tx2"/>
                </a:solidFill>
              </a:defRPr>
            </a:lvl3pPr>
            <a:lvl4pPr marL="503238" indent="-233363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</a:defRPr>
            </a:lvl4pPr>
            <a:lvl5pPr marL="717550" indent="-193675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lang="en-GB" sz="105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insert chart comment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4264AD-E771-4AD5-B1EE-AD1A80E2730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6DA62B6-9735-4EA3-AD07-FF34EF82BD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7AC1B6-E17D-439D-A681-3E7005DA409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B988B8B-FFD1-4F96-AC27-37F2C24F27E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42799" y="2249827"/>
            <a:ext cx="5400000" cy="38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6037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F8F71B2-5038-4A52-B268-EFEFC6FA962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able Placeholder 2">
            <a:extLst>
              <a:ext uri="{FF2B5EF4-FFF2-40B4-BE49-F238E27FC236}">
                <a16:creationId xmlns:a16="http://schemas.microsoft.com/office/drawing/2014/main" id="{B0D006F0-61D9-476E-AD83-77162C97648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64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F8F71B2-5038-4A52-B268-EFEFC6FA962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C54E401-1D0D-436B-85F4-4704AD03A9E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2799" y="2249826"/>
            <a:ext cx="11304000" cy="388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0985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with Coral Title Divid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49B78C9-7BB7-49D7-954F-5AA9382FC932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0B949801-D1CB-4FAA-AA6A-7CA71D329D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0744" y="1164621"/>
            <a:ext cx="11288344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2">
            <a:extLst>
              <a:ext uri="{FF2B5EF4-FFF2-40B4-BE49-F238E27FC236}">
                <a16:creationId xmlns:a16="http://schemas.microsoft.com/office/drawing/2014/main" id="{EC45FAEB-14CD-489E-8AC0-800CA223B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2281628"/>
            <a:ext cx="11277600" cy="360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266700" indent="-2667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sz="14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2pPr marL="503238" indent="-2365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  <a:lvl3pPr marL="715963" indent="-192088" defTabSz="809625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05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lvl="0"/>
            <a:r>
              <a:rPr lang="en-US"/>
              <a:t>1st level bullet style</a:t>
            </a:r>
          </a:p>
          <a:p>
            <a:pPr lvl="1"/>
            <a:r>
              <a:rPr lang="en-US"/>
              <a:t>2nd level bullet style</a:t>
            </a:r>
          </a:p>
          <a:p>
            <a:pPr lvl="2"/>
            <a:r>
              <a:rPr lang="en-US"/>
              <a:t>3rd level bullet style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7AB5DCBE-1D2A-43D5-A777-58863EDF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743" y="16399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sz="2400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16A898-5A89-4CA5-9B40-95FBB2829B5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1BEBC27-A4DD-4672-8056-53320A57DF87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ECBC53C-7DFD-4D73-BD13-DCA234AEE22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A7AA8E88-D7A4-4D8B-8B33-BACEE0E850AB}"/>
              </a:ext>
            </a:extLst>
          </p:cNvPr>
          <p:cNvSpPr txBox="1">
            <a:spLocks/>
          </p:cNvSpPr>
          <p:nvPr userDrawn="1"/>
        </p:nvSpPr>
        <p:spPr>
          <a:xfrm flipH="1">
            <a:off x="457196" y="6436977"/>
            <a:ext cx="542041" cy="1908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A285110E-A93C-E24B-BA01-8EFF0EF70079}" type="slidenum">
              <a:rPr lang="en-US" sz="800" b="1" smtClean="0">
                <a:solidFill>
                  <a:schemeClr val="bg2"/>
                </a:solidFill>
                <a:latin typeface="+mn-lt"/>
                <a:ea typeface="Cambria" panose="02040503050406030204" pitchFamily="18" charset="0"/>
              </a:rPr>
              <a:pPr algn="l"/>
              <a:t>‹#›</a:t>
            </a:fld>
            <a:endParaRPr lang="en-US" b="1">
              <a:solidFill>
                <a:schemeClr val="bg2"/>
              </a:solidFill>
              <a:latin typeface="+mn-lt"/>
              <a:ea typeface="Cambria" panose="02040503050406030204" pitchFamily="18" charset="0"/>
            </a:endParaRP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1B124115-E4ED-441D-AE96-1D75EC9E75CC}"/>
              </a:ext>
            </a:extLst>
          </p:cNvPr>
          <p:cNvSpPr txBox="1">
            <a:spLocks/>
          </p:cNvSpPr>
          <p:nvPr userDrawn="1"/>
        </p:nvSpPr>
        <p:spPr>
          <a:xfrm flipH="1">
            <a:off x="457196" y="6436977"/>
            <a:ext cx="542041" cy="1908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A285110E-A93C-E24B-BA01-8EFF0EF70079}" type="slidenum">
              <a:rPr lang="en-US" sz="800" b="1" smtClean="0">
                <a:solidFill>
                  <a:schemeClr val="bg2"/>
                </a:solidFill>
                <a:latin typeface="+mn-lt"/>
                <a:ea typeface="Cambria" panose="02040503050406030204" pitchFamily="18" charset="0"/>
              </a:rPr>
              <a:pPr algn="l"/>
              <a:t>‹#›</a:t>
            </a:fld>
            <a:endParaRPr lang="en-US" b="1">
              <a:solidFill>
                <a:schemeClr val="bg2"/>
              </a:solidFill>
              <a:latin typeface="+mn-lt"/>
              <a:ea typeface="Cambria" panose="02040503050406030204" pitchFamily="18" charset="0"/>
            </a:endParaRP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04AB443C-F0C2-4EA5-8A96-D872A0A08D45}"/>
              </a:ext>
            </a:extLst>
          </p:cNvPr>
          <p:cNvSpPr txBox="1">
            <a:spLocks/>
          </p:cNvSpPr>
          <p:nvPr userDrawn="1"/>
        </p:nvSpPr>
        <p:spPr>
          <a:xfrm>
            <a:off x="623888" y="6426211"/>
            <a:ext cx="2396518" cy="22225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798399"/>
                </a:solidFill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F404E1C9-A322-486E-A946-1B113BAB4A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2969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 Cor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FE41B66-E82D-4657-A737-E4FA8AC65A18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D9AC699-128E-45D5-B4BD-EAC43A48A49E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272390D-159B-4196-85C8-AA23F030744B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6685164-D677-427B-80C8-FE067C72B49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7020BA19-38E8-4FDA-B53A-16F1C13492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BAFA92-4783-4C5A-8253-6644BF0A1D2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8163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ADBF1773-246E-4C31-9EA7-4FD8C7D51459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FCA5AE9-16F5-49C5-B31D-EEE1E47188C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AA9CFC4A-1CEB-4790-BACF-6EA17DF30D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379C90-D03A-4E69-A2E9-B510124AEE8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4564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 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D9ABB7B-8CFC-469E-87BB-9D57F55E131D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E369FB11-7907-467F-8696-2250886D64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75645" y="2852103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3431397E-CA6D-447B-89CE-7141F15223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2852103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481F11-552E-4AC1-B90D-84C47A0F5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3" y="2232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From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904BCC42-990A-4C9D-B509-29DF24C802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1600" y="2196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To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DF459731-1012-4F51-AB8C-A81255FA384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69592" y="4016631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02522068-1D86-4299-A574-347C2821CAF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912" y="4016631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22D0734C-534D-4AAB-B46F-E3DC9C987D3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981700" y="5181159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solidFill>
            <a:schemeClr val="accent2"/>
          </a:soli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endParaRPr lang="en-US"/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E3E31F3B-3F47-424E-9E3A-E3D439B3A60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196" y="5181159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D7F8775-4EFF-497B-A127-D347C4E65B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19C3E27-EA49-4C1F-88F7-145D73459B6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950CD98-A671-4A84-BAA9-FF4FA6646D38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2F17EEC5-3654-468C-B185-1F74B09652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C7B8E5D-5373-4534-B7A6-D90C6CCED9D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078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0117C252-9AE2-459C-9692-4C928EFCD04E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977456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977455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sz="14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601033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601033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sz="14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610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8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522804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609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4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8992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5275650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0DE3D9A-5745-456B-8E35-49AEDDA27D34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7353E-1508-4EB2-B032-CFE0208BB6B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61DE440B-C47F-416C-8AEC-F66503201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EC20A41-BC4E-4146-B326-26BC80025289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127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D25F7AE7-6644-470A-90CF-47B6F9F313F5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530014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530014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27492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27492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Fusce posuere, magna sed pulvinar ultricies, purus lectus malesuada libero, sit amet commodo magna eros quis urna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249702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249702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1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36067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481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buNone/>
              <a:defRPr lang="en-US" sz="12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38589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441111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543633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E471F1E-DBD6-42B4-BC7F-68658494AEC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2B1C5B1-DD5C-46BD-9171-3F3551A3196C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CA5EF783-E964-4A68-BFA0-29D6D51481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4B2A3D8-BFDF-4F41-AF46-F35B3FC27A8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7232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C73C2D05-90CD-4A84-9996-5A713D7C0452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46442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46441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38376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38375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031084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0309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amet, consectetuer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porttitor congue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lectus </a:t>
            </a:r>
            <a:r>
              <a:rPr lang="en-US" err="1"/>
              <a:t>malesuada</a:t>
            </a:r>
            <a:r>
              <a:rPr lang="en-US"/>
              <a:t> libero, sit amet </a:t>
            </a:r>
            <a:r>
              <a:rPr lang="en-US" err="1"/>
              <a:t>commodo</a:t>
            </a:r>
            <a:r>
              <a:rPr lang="en-US"/>
              <a:t>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2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28322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3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buNone/>
              <a:defRPr sz="12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0898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38964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47030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0" name="Text Placeholder 99">
            <a:extLst>
              <a:ext uri="{FF2B5EF4-FFF2-40B4-BE49-F238E27FC236}">
                <a16:creationId xmlns:a16="http://schemas.microsoft.com/office/drawing/2014/main" id="{F26204A4-94F4-4D0B-A32D-54BA8095E0E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3834" y="5450885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BC8A2927-6011-4622-A038-F2F7EAC093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891363" y="5450755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>
                  <a:alpha val="17000"/>
                </a:schemeClr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45720" rIns="91440" bIns="45720" rtlCol="0" anchor="ctr" anchorCtr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7EA2F73C-E0F4-45B1-AB8F-530A19B4351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6415" y="55096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5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FCE79156-B96F-4F0A-B2E6-29388CAA0C8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95460F8E-68BE-4EED-81CC-C73F28ABEB6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ooter Placeholder 3">
            <a:extLst>
              <a:ext uri="{FF2B5EF4-FFF2-40B4-BE49-F238E27FC236}">
                <a16:creationId xmlns:a16="http://schemas.microsoft.com/office/drawing/2014/main" id="{18AE67F5-F98A-4F06-BBD7-E2724C877E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36C93BA-B2DB-45DF-8168-9205478FAB4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595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e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0487D53-597F-4F97-AFD7-4642703C2DA0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879880F-2137-47AB-9566-C8A09E1C8E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20775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4CCA4F3-8BB7-4518-8D07-F4EBBBD39F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1955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5A37B0B-0741-485F-996D-2A2215AD59C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1833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DB37BA3-47E7-413A-B0E7-2CD9DCDEE8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17119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0" name="Title 3">
            <a:extLst>
              <a:ext uri="{FF2B5EF4-FFF2-40B4-BE49-F238E27FC236}">
                <a16:creationId xmlns:a16="http://schemas.microsoft.com/office/drawing/2014/main" id="{E38D729D-5227-49D7-9785-1DC1DF806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EB6EBEF1-2298-410B-9293-C27A9A420B8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EDF3697C-568B-4AA1-9EF3-9113E2541E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799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20E879FB-0ECA-4094-A26D-0870481E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1580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CB7EAE9F-C1C2-4E54-947F-1DAF3E582D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0361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12F1173-5541-4125-8BBE-11308C342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39143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942C6F7-BF76-41F2-9314-4E67256E96B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74E6F3-834D-466B-90E1-E0AC0A9201E5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DD6F617-9647-465D-AF6F-DC346B76746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36714-818D-4C9A-A027-DF755969998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C4FAD300-8076-4D37-8AE8-A3847079D0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F763012-A5D4-4F14-B146-970A28A8F8C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1498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6B4F6363-4D60-4208-8FEE-B7F12EDD1C51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33084D-ACDD-6849-8479-977F2DBF36CB}"/>
              </a:ext>
            </a:extLst>
          </p:cNvPr>
          <p:cNvSpPr/>
          <p:nvPr/>
        </p:nvSpPr>
        <p:spPr>
          <a:xfrm rot="5400000">
            <a:off x="5215165" y="-3348040"/>
            <a:ext cx="1759270" cy="11304000"/>
          </a:xfrm>
          <a:prstGeom prst="rect">
            <a:avLst/>
          </a:prstGeom>
          <a:gradFill>
            <a:gsLst>
              <a:gs pos="27000">
                <a:schemeClr val="accent1">
                  <a:alpha val="5000"/>
                </a:schemeClr>
              </a:gs>
              <a:gs pos="90000">
                <a:schemeClr val="accent1">
                  <a:alpha val="5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DF5872F-F6BC-7841-B29A-4A0024AAA7BE}"/>
              </a:ext>
            </a:extLst>
          </p:cNvPr>
          <p:cNvCxnSpPr>
            <a:cxnSpLocks/>
          </p:cNvCxnSpPr>
          <p:nvPr/>
        </p:nvCxnSpPr>
        <p:spPr>
          <a:xfrm>
            <a:off x="466722" y="3166948"/>
            <a:ext cx="11304000" cy="0"/>
          </a:xfrm>
          <a:prstGeom prst="line">
            <a:avLst/>
          </a:prstGeom>
          <a:ln w="22225" cap="sq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  <a:gs pos="88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E84A35F3-573F-493A-9BB5-CDB1871AE1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442947" y="1779999"/>
            <a:ext cx="3348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1A7CF413-A654-4EB4-B519-46AA63AE393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971045" y="1779999"/>
            <a:ext cx="378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B4F379B-BC2F-4858-8C07-5C827C0314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31143" y="1779999"/>
            <a:ext cx="180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GB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GB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8E42CAB-23DC-47DC-8ECF-2DEDFC9864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3605212"/>
            <a:ext cx="3816000" cy="259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 b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428F7AE9-B31F-43B5-8A13-DF6E9F2B3E7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89832" y="3605212"/>
            <a:ext cx="4310280" cy="259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F7B782AE-DD52-464C-8442-459CF5365BF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31144" y="3605214"/>
            <a:ext cx="2700000" cy="72759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560374B-2FEC-4C35-99AB-CEDF599EA0B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34277" y="1512514"/>
            <a:ext cx="1723431" cy="1582892"/>
          </a:xfrm>
          <a:prstGeom prst="rect">
            <a:avLst/>
          </a:prstGeom>
          <a:blipFill>
            <a:blip r:embed="rId4"/>
            <a:stretch>
              <a:fillRect t="-13941" b="-37632"/>
            </a:stretch>
          </a:blipFill>
        </p:spPr>
        <p:txBody>
          <a:bodyPr/>
          <a:lstStyle>
            <a:lvl1pPr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040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6B4F6363-4D60-4208-8FEE-B7F12EDD1C51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tx2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E84A35F3-573F-493A-9BB5-CDB1871AE1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442947" y="1779999"/>
            <a:ext cx="3348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1A7CF413-A654-4EB4-B519-46AA63AE393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971045" y="1779999"/>
            <a:ext cx="378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B4F379B-BC2F-4858-8C07-5C827C0314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31143" y="1779999"/>
            <a:ext cx="1800000" cy="12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GB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GB"/>
              <a:t>Text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8E42CAB-23DC-47DC-8ECF-2DEDFC9864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3605212"/>
            <a:ext cx="3816000" cy="259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 b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428F7AE9-B31F-43B5-8A13-DF6E9F2B3E7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89832" y="3605212"/>
            <a:ext cx="4310280" cy="259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en-US" sz="1200" b="0" dirty="0">
                <a:solidFill>
                  <a:schemeClr val="tx2"/>
                </a:solidFill>
                <a:latin typeface="+mn-lt"/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F7B782AE-DD52-464C-8442-459CF5365BF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31144" y="3605214"/>
            <a:ext cx="2700000" cy="72759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1pPr>
            <a:lvl3pPr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</a:lstStyle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  <p:sp>
        <p:nvSpPr>
          <p:cNvPr id="40" name="Picture Placeholder 16">
            <a:extLst>
              <a:ext uri="{FF2B5EF4-FFF2-40B4-BE49-F238E27FC236}">
                <a16:creationId xmlns:a16="http://schemas.microsoft.com/office/drawing/2014/main" id="{4E722CF8-E930-4BEA-A60F-E0E575C70C7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64302" y="155545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ln w="15875">
            <a:solidFill>
              <a:schemeClr val="accent2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 b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58757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1DB09EE-E3C0-42FD-A544-DC5343F278E7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2777213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9409A921-69CE-4E73-8C64-4D322B88B0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65DC36-62B1-4EA9-8B58-1F8769E3773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6195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 Slide White No Cor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AA70064-CC3A-4F0B-9B1E-79ED547061E5}"/>
              </a:ext>
            </a:extLst>
          </p:cNvPr>
          <p:cNvSpPr txBox="1">
            <a:spLocks/>
          </p:cNvSpPr>
          <p:nvPr userDrawn="1"/>
        </p:nvSpPr>
        <p:spPr>
          <a:xfrm flipH="1">
            <a:off x="457196" y="6436977"/>
            <a:ext cx="542041" cy="1908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A285110E-A93C-E24B-BA01-8EFF0EF70079}" type="slidenum">
              <a:rPr lang="en-US" sz="800" b="1" smtClean="0">
                <a:solidFill>
                  <a:schemeClr val="bg2"/>
                </a:solidFill>
                <a:latin typeface="+mn-lt"/>
                <a:ea typeface="Cambria" panose="02040503050406030204" pitchFamily="18" charset="0"/>
              </a:rPr>
              <a:pPr algn="l"/>
              <a:t>‹#›</a:t>
            </a:fld>
            <a:endParaRPr lang="en-US" b="1">
              <a:solidFill>
                <a:schemeClr val="bg2"/>
              </a:solidFill>
              <a:latin typeface="+mn-lt"/>
              <a:ea typeface="Cambria" panose="02040503050406030204" pitchFamily="18" charset="0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74650C1-3009-4E48-9DD9-10CF23318056}"/>
              </a:ext>
            </a:extLst>
          </p:cNvPr>
          <p:cNvSpPr txBox="1">
            <a:spLocks/>
          </p:cNvSpPr>
          <p:nvPr userDrawn="1"/>
        </p:nvSpPr>
        <p:spPr>
          <a:xfrm flipH="1">
            <a:off x="457196" y="6436977"/>
            <a:ext cx="542041" cy="1908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05306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A285110E-A93C-E24B-BA01-8EFF0EF70079}" type="slidenum">
              <a:rPr lang="en-US" sz="800" b="1" smtClean="0">
                <a:solidFill>
                  <a:schemeClr val="bg2"/>
                </a:solidFill>
                <a:latin typeface="+mn-lt"/>
                <a:ea typeface="Cambria" panose="02040503050406030204" pitchFamily="18" charset="0"/>
              </a:rPr>
              <a:pPr algn="l"/>
              <a:t>‹#›</a:t>
            </a:fld>
            <a:endParaRPr lang="en-US" b="1">
              <a:solidFill>
                <a:schemeClr val="bg2"/>
              </a:solidFill>
              <a:latin typeface="+mn-lt"/>
              <a:ea typeface="Cambria" panose="02040503050406030204" pitchFamily="18" charset="0"/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CCB1A71-7046-4FF1-9152-65A94415AF80}"/>
              </a:ext>
            </a:extLst>
          </p:cNvPr>
          <p:cNvSpPr txBox="1">
            <a:spLocks/>
          </p:cNvSpPr>
          <p:nvPr userDrawn="1"/>
        </p:nvSpPr>
        <p:spPr>
          <a:xfrm>
            <a:off x="623888" y="6426211"/>
            <a:ext cx="2396518" cy="22225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798399"/>
                </a:solidFill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340828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ad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A8ECDA57-4871-4435-81EA-BBB8E5FB2618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20BDA3C6-2C55-4EC0-92A0-2FA57310BA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81011" y="1617885"/>
            <a:ext cx="1224430" cy="1298310"/>
          </a:xfrm>
          <a:prstGeom prst="rect">
            <a:avLst/>
          </a:pr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ln w="31750">
            <a:noFill/>
          </a:ln>
          <a:effectLst/>
        </p:spPr>
        <p:txBody>
          <a:bodyPr wrap="square" lIns="72000" anchor="t" anchorCtr="0">
            <a:noAutofit/>
          </a:bodyPr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Insert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B4BFA0FB-D432-426F-97B1-7818E2426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4762EA-DFCD-4F24-9797-407D63DA917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192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xagon Headsho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025C197D-310C-47A9-8449-B4DBCA42512D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tx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DFB4B834-C56F-490A-BC1C-C54AB928B9E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61536" y="151853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ln w="15875">
            <a:solidFill>
              <a:srgbClr val="00AECF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1CF07C63-A834-4BF2-9FCB-33E559B5F4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B678BD-E31D-4A5B-A4E4-810EC221D82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2108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B9B8EA-2AC0-486B-955D-5AFD90844E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E7F6BA-6FF3-4807-A992-128446656EBE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606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xagon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145BBAF5-9F92-4F54-8CD3-F45AB97454E0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98EA4DB-4218-498A-AEC4-23CC43FE457F}"/>
              </a:ext>
            </a:extLst>
          </p:cNvPr>
          <p:cNvSpPr/>
          <p:nvPr userDrawn="1"/>
        </p:nvSpPr>
        <p:spPr>
          <a:xfrm>
            <a:off x="4490359" y="2049775"/>
            <a:ext cx="1592941" cy="1808204"/>
          </a:xfrm>
          <a:custGeom>
            <a:avLst/>
            <a:gdLst>
              <a:gd name="connsiteX0" fmla="*/ 1606503 w 1592941"/>
              <a:gd name="connsiteY0" fmla="*/ 0 h 1808203"/>
              <a:gd name="connsiteX1" fmla="*/ 1606503 w 1592941"/>
              <a:gd name="connsiteY1" fmla="*/ 1358090 h 1808203"/>
              <a:gd name="connsiteX2" fmla="*/ 972555 w 1592941"/>
              <a:gd name="connsiteY2" fmla="*/ 1804114 h 1808203"/>
              <a:gd name="connsiteX3" fmla="*/ 972555 w 1592941"/>
              <a:gd name="connsiteY3" fmla="*/ 1809065 h 1808203"/>
              <a:gd name="connsiteX4" fmla="*/ 0 w 1592941"/>
              <a:gd name="connsiteY4" fmla="*/ 1130127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941" h="1808203">
                <a:moveTo>
                  <a:pt x="1606503" y="0"/>
                </a:moveTo>
                <a:lnTo>
                  <a:pt x="1606503" y="1358090"/>
                </a:lnTo>
                <a:lnTo>
                  <a:pt x="972555" y="1804114"/>
                </a:lnTo>
                <a:lnTo>
                  <a:pt x="972555" y="1809065"/>
                </a:lnTo>
                <a:lnTo>
                  <a:pt x="0" y="1130127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68B9C2E-6668-4C07-95F1-CB22EEC5D65E}"/>
              </a:ext>
            </a:extLst>
          </p:cNvPr>
          <p:cNvSpPr/>
          <p:nvPr userDrawn="1"/>
        </p:nvSpPr>
        <p:spPr>
          <a:xfrm>
            <a:off x="6096862" y="2046977"/>
            <a:ext cx="1614467" cy="1808204"/>
          </a:xfrm>
          <a:custGeom>
            <a:avLst/>
            <a:gdLst>
              <a:gd name="connsiteX0" fmla="*/ 1615113 w 1614467"/>
              <a:gd name="connsiteY0" fmla="*/ 1138953 h 1808203"/>
              <a:gd name="connsiteX1" fmla="*/ 1615113 w 1614467"/>
              <a:gd name="connsiteY1" fmla="*/ 1139168 h 1808203"/>
              <a:gd name="connsiteX2" fmla="*/ 633947 w 1614467"/>
              <a:gd name="connsiteY2" fmla="*/ 1818321 h 1808203"/>
              <a:gd name="connsiteX3" fmla="*/ 633947 w 1614467"/>
              <a:gd name="connsiteY3" fmla="*/ 1806912 h 1808203"/>
              <a:gd name="connsiteX4" fmla="*/ 1507 w 1614467"/>
              <a:gd name="connsiteY4" fmla="*/ 1359812 h 1808203"/>
              <a:gd name="connsiteX5" fmla="*/ 0 w 1614467"/>
              <a:gd name="connsiteY5" fmla="*/ 1360889 h 1808203"/>
              <a:gd name="connsiteX6" fmla="*/ 0 w 1614467"/>
              <a:gd name="connsiteY6" fmla="*/ 2798 h 1808203"/>
              <a:gd name="connsiteX7" fmla="*/ 3875 w 1614467"/>
              <a:gd name="connsiteY7" fmla="*/ 0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4467" h="1808203">
                <a:moveTo>
                  <a:pt x="1615113" y="1138953"/>
                </a:moveTo>
                <a:lnTo>
                  <a:pt x="1615113" y="1139168"/>
                </a:lnTo>
                <a:lnTo>
                  <a:pt x="633947" y="1818321"/>
                </a:lnTo>
                <a:lnTo>
                  <a:pt x="633947" y="1806912"/>
                </a:lnTo>
                <a:lnTo>
                  <a:pt x="1507" y="1359812"/>
                </a:lnTo>
                <a:lnTo>
                  <a:pt x="0" y="1360889"/>
                </a:lnTo>
                <a:lnTo>
                  <a:pt x="0" y="2798"/>
                </a:lnTo>
                <a:lnTo>
                  <a:pt x="3875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42C4371-8AB2-4223-BBB9-9B8FF4C11085}"/>
              </a:ext>
            </a:extLst>
          </p:cNvPr>
          <p:cNvSpPr/>
          <p:nvPr userDrawn="1"/>
        </p:nvSpPr>
        <p:spPr>
          <a:xfrm>
            <a:off x="6722414" y="3186145"/>
            <a:ext cx="968680" cy="2238728"/>
          </a:xfrm>
          <a:custGeom>
            <a:avLst/>
            <a:gdLst>
              <a:gd name="connsiteX0" fmla="*/ 989561 w 968680"/>
              <a:gd name="connsiteY0" fmla="*/ 0 h 2238728"/>
              <a:gd name="connsiteX1" fmla="*/ 989561 w 968680"/>
              <a:gd name="connsiteY1" fmla="*/ 2238083 h 2238728"/>
              <a:gd name="connsiteX2" fmla="*/ 986117 w 968680"/>
              <a:gd name="connsiteY2" fmla="*/ 2240451 h 2238728"/>
              <a:gd name="connsiteX3" fmla="*/ 0 w 968680"/>
              <a:gd name="connsiteY3" fmla="*/ 1552041 h 2238728"/>
              <a:gd name="connsiteX4" fmla="*/ 8395 w 968680"/>
              <a:gd name="connsiteY4" fmla="*/ 1546229 h 2238728"/>
              <a:gd name="connsiteX5" fmla="*/ 8395 w 968680"/>
              <a:gd name="connsiteY5" fmla="*/ 679153 h 2238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8680" h="2238728">
                <a:moveTo>
                  <a:pt x="989561" y="0"/>
                </a:moveTo>
                <a:lnTo>
                  <a:pt x="989561" y="2238083"/>
                </a:lnTo>
                <a:lnTo>
                  <a:pt x="986117" y="2240451"/>
                </a:lnTo>
                <a:lnTo>
                  <a:pt x="0" y="1552041"/>
                </a:lnTo>
                <a:lnTo>
                  <a:pt x="8395" y="1546229"/>
                </a:lnTo>
                <a:lnTo>
                  <a:pt x="8395" y="679153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4ECC8C-1257-4D1B-B1F3-8689EED79010}"/>
              </a:ext>
            </a:extLst>
          </p:cNvPr>
          <p:cNvSpPr/>
          <p:nvPr userDrawn="1"/>
        </p:nvSpPr>
        <p:spPr>
          <a:xfrm>
            <a:off x="6096862" y="4738186"/>
            <a:ext cx="1592941" cy="1765151"/>
          </a:xfrm>
          <a:custGeom>
            <a:avLst/>
            <a:gdLst>
              <a:gd name="connsiteX0" fmla="*/ 1611669 w 1592941"/>
              <a:gd name="connsiteY0" fmla="*/ 688409 h 1765151"/>
              <a:gd name="connsiteX1" fmla="*/ 0 w 1592941"/>
              <a:gd name="connsiteY1" fmla="*/ 1785386 h 1765151"/>
              <a:gd name="connsiteX2" fmla="*/ 0 w 1592941"/>
              <a:gd name="connsiteY2" fmla="*/ 425574 h 1765151"/>
              <a:gd name="connsiteX3" fmla="*/ 625552 w 1592941"/>
              <a:gd name="connsiteY3" fmla="*/ 0 h 176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65151">
                <a:moveTo>
                  <a:pt x="1611669" y="688409"/>
                </a:moveTo>
                <a:lnTo>
                  <a:pt x="0" y="1785386"/>
                </a:lnTo>
                <a:lnTo>
                  <a:pt x="0" y="425574"/>
                </a:lnTo>
                <a:lnTo>
                  <a:pt x="625552" y="0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D7F8349-ACC4-4383-99B6-33AAF0248346}"/>
              </a:ext>
            </a:extLst>
          </p:cNvPr>
          <p:cNvSpPr/>
          <p:nvPr userDrawn="1"/>
        </p:nvSpPr>
        <p:spPr>
          <a:xfrm>
            <a:off x="4489713" y="4734957"/>
            <a:ext cx="1592941" cy="1786677"/>
          </a:xfrm>
          <a:custGeom>
            <a:avLst/>
            <a:gdLst>
              <a:gd name="connsiteX0" fmla="*/ 1607149 w 1592941"/>
              <a:gd name="connsiteY0" fmla="*/ 428803 h 1786677"/>
              <a:gd name="connsiteX1" fmla="*/ 1607149 w 1592941"/>
              <a:gd name="connsiteY1" fmla="*/ 1788615 h 1786677"/>
              <a:gd name="connsiteX2" fmla="*/ 0 w 1592941"/>
              <a:gd name="connsiteY2" fmla="*/ 681521 h 1786677"/>
              <a:gd name="connsiteX3" fmla="*/ 984610 w 1592941"/>
              <a:gd name="connsiteY3" fmla="*/ 0 h 1786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86677">
                <a:moveTo>
                  <a:pt x="1607149" y="428803"/>
                </a:moveTo>
                <a:lnTo>
                  <a:pt x="1607149" y="1788615"/>
                </a:lnTo>
                <a:lnTo>
                  <a:pt x="0" y="681521"/>
                </a:lnTo>
                <a:lnTo>
                  <a:pt x="984610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1F91A86-A4FE-4EEA-95A9-ABA2D725D4B1}"/>
              </a:ext>
            </a:extLst>
          </p:cNvPr>
          <p:cNvSpPr/>
          <p:nvPr userDrawn="1"/>
        </p:nvSpPr>
        <p:spPr>
          <a:xfrm>
            <a:off x="4481748" y="3179902"/>
            <a:ext cx="990207" cy="2217202"/>
          </a:xfrm>
          <a:custGeom>
            <a:avLst/>
            <a:gdLst>
              <a:gd name="connsiteX0" fmla="*/ 992575 w 990206"/>
              <a:gd name="connsiteY0" fmla="*/ 1555055 h 2217202"/>
              <a:gd name="connsiteX1" fmla="*/ 7965 w 990206"/>
              <a:gd name="connsiteY1" fmla="*/ 2236576 h 2217202"/>
              <a:gd name="connsiteX2" fmla="*/ 0 w 990206"/>
              <a:gd name="connsiteY2" fmla="*/ 2231194 h 2217202"/>
              <a:gd name="connsiteX3" fmla="*/ 0 w 990206"/>
              <a:gd name="connsiteY3" fmla="*/ 6027 h 2217202"/>
              <a:gd name="connsiteX4" fmla="*/ 8610 w 990206"/>
              <a:gd name="connsiteY4" fmla="*/ 0 h 2217202"/>
              <a:gd name="connsiteX5" fmla="*/ 981166 w 990206"/>
              <a:gd name="connsiteY5" fmla="*/ 678937 h 2217202"/>
              <a:gd name="connsiteX6" fmla="*/ 981166 w 990206"/>
              <a:gd name="connsiteY6" fmla="*/ 1547091 h 22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206" h="2217202">
                <a:moveTo>
                  <a:pt x="992575" y="1555055"/>
                </a:moveTo>
                <a:lnTo>
                  <a:pt x="7965" y="2236576"/>
                </a:lnTo>
                <a:lnTo>
                  <a:pt x="0" y="2231194"/>
                </a:lnTo>
                <a:lnTo>
                  <a:pt x="0" y="6027"/>
                </a:lnTo>
                <a:lnTo>
                  <a:pt x="8610" y="0"/>
                </a:lnTo>
                <a:lnTo>
                  <a:pt x="981166" y="678937"/>
                </a:lnTo>
                <a:lnTo>
                  <a:pt x="981166" y="1547091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 userDrawn="1"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9C2C73CC-7BBA-4AB5-9F31-7A9948DD02C7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0" name="Text Placeholder 22">
            <a:extLst>
              <a:ext uri="{FF2B5EF4-FFF2-40B4-BE49-F238E27FC236}">
                <a16:creationId xmlns:a16="http://schemas.microsoft.com/office/drawing/2014/main" id="{ACF8BC36-C25E-4E14-81DD-43E6AD7F43E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2799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47" name="Text Placeholder 22">
            <a:extLst>
              <a:ext uri="{FF2B5EF4-FFF2-40B4-BE49-F238E27FC236}">
                <a16:creationId xmlns:a16="http://schemas.microsoft.com/office/drawing/2014/main" id="{8ED2000C-3948-4295-8AB2-77B8EA5FC36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442799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CAEC8480-4C52-4DF4-9AA5-B6002C4CF189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442799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0" name="Text Placeholder 22">
            <a:extLst>
              <a:ext uri="{FF2B5EF4-FFF2-40B4-BE49-F238E27FC236}">
                <a16:creationId xmlns:a16="http://schemas.microsoft.com/office/drawing/2014/main" id="{CC93A6C9-814A-45DA-9A94-78668198253B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442799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1" name="Text Placeholder 22">
            <a:extLst>
              <a:ext uri="{FF2B5EF4-FFF2-40B4-BE49-F238E27FC236}">
                <a16:creationId xmlns:a16="http://schemas.microsoft.com/office/drawing/2014/main" id="{BCC769DA-6390-4C7E-A4D7-0169214C1BD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442799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2" name="Text Placeholder 22">
            <a:extLst>
              <a:ext uri="{FF2B5EF4-FFF2-40B4-BE49-F238E27FC236}">
                <a16:creationId xmlns:a16="http://schemas.microsoft.com/office/drawing/2014/main" id="{17FB0337-BD14-4336-B29B-3DCE71A60C79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8316410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663F0B75-7DCF-4676-8D96-0F13787305EA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8316410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772D1169-69D6-46E6-8422-F6D62FEC420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16410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325DA6B-3F84-4F11-8E5F-18FF0C5E2C04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8316410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69" name="Text Placeholder 22">
            <a:extLst>
              <a:ext uri="{FF2B5EF4-FFF2-40B4-BE49-F238E27FC236}">
                <a16:creationId xmlns:a16="http://schemas.microsoft.com/office/drawing/2014/main" id="{F3D91CB9-9423-4706-8307-13B75842526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316410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70" name="Text Placeholder 22">
            <a:extLst>
              <a:ext uri="{FF2B5EF4-FFF2-40B4-BE49-F238E27FC236}">
                <a16:creationId xmlns:a16="http://schemas.microsoft.com/office/drawing/2014/main" id="{BBDBFD81-3F25-45C4-931C-C83C44642FA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8316410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71" name="Text Placeholder 22">
            <a:extLst>
              <a:ext uri="{FF2B5EF4-FFF2-40B4-BE49-F238E27FC236}">
                <a16:creationId xmlns:a16="http://schemas.microsoft.com/office/drawing/2014/main" id="{8AF38639-9E42-4E6E-B553-2E71FACE72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 rot="19506392">
            <a:off x="4707211" y="2532499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2" name="Text Placeholder 22">
            <a:extLst>
              <a:ext uri="{FF2B5EF4-FFF2-40B4-BE49-F238E27FC236}">
                <a16:creationId xmlns:a16="http://schemas.microsoft.com/office/drawing/2014/main" id="{79D5FF8B-3DD9-4FCF-BC25-11B5B708C5C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 rot="2116930">
            <a:off x="5943838" y="252371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3" name="Text Placeholder 22">
            <a:extLst>
              <a:ext uri="{FF2B5EF4-FFF2-40B4-BE49-F238E27FC236}">
                <a16:creationId xmlns:a16="http://schemas.microsoft.com/office/drawing/2014/main" id="{D62B37A5-61DE-4BC5-AC73-372745F00D3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 rot="5400000">
            <a:off x="6525291" y="3822312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4" name="Text Placeholder 22">
            <a:extLst>
              <a:ext uri="{FF2B5EF4-FFF2-40B4-BE49-F238E27FC236}">
                <a16:creationId xmlns:a16="http://schemas.microsoft.com/office/drawing/2014/main" id="{BF3E3C32-F259-4D5B-A786-01B702121B05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 rot="19561147">
            <a:off x="5958993" y="510039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5" name="Text Placeholder 22">
            <a:extLst>
              <a:ext uri="{FF2B5EF4-FFF2-40B4-BE49-F238E27FC236}">
                <a16:creationId xmlns:a16="http://schemas.microsoft.com/office/drawing/2014/main" id="{C177F396-C670-417E-A13A-5F5DC906BB47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 rot="2089401">
            <a:off x="4714637" y="5104414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6" name="Text Placeholder 22">
            <a:extLst>
              <a:ext uri="{FF2B5EF4-FFF2-40B4-BE49-F238E27FC236}">
                <a16:creationId xmlns:a16="http://schemas.microsoft.com/office/drawing/2014/main" id="{4B383110-BE85-43CD-BC20-B568C760864C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 rot="16200000">
            <a:off x="4110812" y="3845473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1272E3C2-33B0-42F0-98CB-8C8C243BF377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6052DF19-9D96-4A54-8FA3-46C146C0B5F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F5943707-01DA-43C9-BA1F-E7EE0E7D235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2" name="Footer Placeholder 3">
            <a:extLst>
              <a:ext uri="{FF2B5EF4-FFF2-40B4-BE49-F238E27FC236}">
                <a16:creationId xmlns:a16="http://schemas.microsoft.com/office/drawing/2014/main" id="{70C02C76-34C0-477D-9B7A-973364A4E2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5A932B5-1139-4503-A7E7-6CD9AAADD06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2591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hombus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98514DF3-2565-4D9A-BBC5-70C09D78F24E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10E4203-08E6-4418-AD09-B8D9334C0A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450" y="1905000"/>
            <a:ext cx="4229100" cy="4393282"/>
          </a:xfrm>
          <a:prstGeom prst="rect">
            <a:avLst/>
          </a:prstGeom>
        </p:spPr>
      </p:pic>
      <p:sp>
        <p:nvSpPr>
          <p:cNvPr id="109" name="Text Placeholder 22">
            <a:extLst>
              <a:ext uri="{FF2B5EF4-FFF2-40B4-BE49-F238E27FC236}">
                <a16:creationId xmlns:a16="http://schemas.microsoft.com/office/drawing/2014/main" id="{FBCEB81F-942E-4E7A-BE5F-A71E6B6C7C8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9531667">
            <a:off x="6418611" y="4299467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4" name="Text Placeholder 22">
            <a:extLst>
              <a:ext uri="{FF2B5EF4-FFF2-40B4-BE49-F238E27FC236}">
                <a16:creationId xmlns:a16="http://schemas.microsoft.com/office/drawing/2014/main" id="{5739B760-04F1-4E96-9625-86162A24023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2012338">
            <a:off x="4209576" y="4269079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7" name="Text Placeholder 22">
            <a:extLst>
              <a:ext uri="{FF2B5EF4-FFF2-40B4-BE49-F238E27FC236}">
                <a16:creationId xmlns:a16="http://schemas.microsoft.com/office/drawing/2014/main" id="{474ED7E6-58E4-4601-9048-F4C3A2B3CCD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2090804">
            <a:off x="6086947" y="265589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7" name="Text Placeholder 22">
            <a:extLst>
              <a:ext uri="{FF2B5EF4-FFF2-40B4-BE49-F238E27FC236}">
                <a16:creationId xmlns:a16="http://schemas.microsoft.com/office/drawing/2014/main" id="{62163FF3-A63D-42A2-B8D8-9D1C745B05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 rot="19584229">
            <a:off x="4526147" y="269911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3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F03B141-FBCC-436D-AD9E-F8C15119CD63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70AE0952-39FD-4454-AAE2-8F8D4080584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166203CE-87B2-4997-9914-45C7469F3E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BF824F2-B806-4A94-975B-1090A135866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41414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quares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0435A45-8C6C-4A21-A06B-488E748A9CE8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00AECF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10548C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rgbClr val="FF555F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6B5300-F1CB-4EEB-8CC9-08A24B4A917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088657" y="2232878"/>
            <a:ext cx="1944000" cy="18720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E8187A81-DCD4-420F-A0D8-52FE345F75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B7E4039A-915B-41DC-A4D1-8E2D00283E4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5BD438B-55CB-42C1-B923-77D8B42E690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D0E62E42-E5B5-4D67-854C-182B2B1B94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E9E16FD-31D4-403C-98C8-58ACE1EB9DC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614C4F9-57DD-410E-BC94-BCE40DDA85E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181219" y="2232878"/>
            <a:ext cx="1944000" cy="1872000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397A3EC-F218-4325-BAC9-F15E16EFBD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088657" y="4246307"/>
            <a:ext cx="1944000" cy="187200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F840943-A169-4345-A64D-496EA67778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81219" y="4246307"/>
            <a:ext cx="1944000" cy="1872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29378278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CD05D69A-5D1E-41AB-A32E-404585972AA7}"/>
              </a:ext>
            </a:extLst>
          </p:cNvPr>
          <p:cNvSpPr/>
          <p:nvPr userDrawn="1"/>
        </p:nvSpPr>
        <p:spPr>
          <a:xfrm rot="3341389" flipH="1">
            <a:off x="1619971" y="-3540963"/>
            <a:ext cx="8946510" cy="13936140"/>
          </a:xfrm>
          <a:custGeom>
            <a:avLst/>
            <a:gdLst>
              <a:gd name="connsiteX0" fmla="*/ 3879008 w 8946510"/>
              <a:gd name="connsiteY0" fmla="*/ 0 h 13936140"/>
              <a:gd name="connsiteX1" fmla="*/ 8946510 w 8946510"/>
              <a:gd name="connsiteY1" fmla="*/ 7425845 h 13936140"/>
              <a:gd name="connsiteX2" fmla="*/ 8946510 w 8946510"/>
              <a:gd name="connsiteY2" fmla="*/ 11298977 h 13936140"/>
              <a:gd name="connsiteX3" fmla="*/ 5082050 w 8946510"/>
              <a:gd name="connsiteY3" fmla="*/ 13936140 h 13936140"/>
              <a:gd name="connsiteX4" fmla="*/ 0 w 8946510"/>
              <a:gd name="connsiteY4" fmla="*/ 6488978 h 13936140"/>
              <a:gd name="connsiteX5" fmla="*/ 0 w 8946510"/>
              <a:gd name="connsiteY5" fmla="*/ 2639589 h 13936140"/>
              <a:gd name="connsiteX6" fmla="*/ 3868014 w 8946510"/>
              <a:gd name="connsiteY6" fmla="*/ 0 h 13936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46510" h="13936140">
                <a:moveTo>
                  <a:pt x="3879008" y="0"/>
                </a:moveTo>
                <a:lnTo>
                  <a:pt x="8946510" y="7425845"/>
                </a:lnTo>
                <a:lnTo>
                  <a:pt x="8946510" y="11298977"/>
                </a:lnTo>
                <a:lnTo>
                  <a:pt x="5082050" y="13936140"/>
                </a:lnTo>
                <a:lnTo>
                  <a:pt x="0" y="6488978"/>
                </a:lnTo>
                <a:lnTo>
                  <a:pt x="0" y="2639589"/>
                </a:lnTo>
                <a:lnTo>
                  <a:pt x="3868014" y="0"/>
                </a:lnTo>
                <a:close/>
              </a:path>
            </a:pathLst>
          </a:custGeom>
          <a:gradFill>
            <a:gsLst>
              <a:gs pos="50000">
                <a:schemeClr val="bg1"/>
              </a:gs>
              <a:gs pos="100000">
                <a:schemeClr val="bg1">
                  <a:alpha val="0"/>
                </a:schemeClr>
              </a:gs>
              <a:gs pos="95000">
                <a:schemeClr val="bg1"/>
              </a:gs>
              <a:gs pos="5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340F2F0-C5F1-4AB4-8DA4-3433AB32CA09}"/>
              </a:ext>
            </a:extLst>
          </p:cNvPr>
          <p:cNvSpPr/>
          <p:nvPr/>
        </p:nvSpPr>
        <p:spPr>
          <a:xfrm>
            <a:off x="442800" y="3969892"/>
            <a:ext cx="2592000" cy="214621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FED55F9B-215F-46F1-8BF2-58FAE022CE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799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8" name="Picture Placeholder 2">
            <a:extLst>
              <a:ext uri="{FF2B5EF4-FFF2-40B4-BE49-F238E27FC236}">
                <a16:creationId xmlns:a16="http://schemas.microsoft.com/office/drawing/2014/main" id="{E10A83AB-065A-479D-832E-DAF6AA362A5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45617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2" name="Picture Placeholder 2">
            <a:extLst>
              <a:ext uri="{FF2B5EF4-FFF2-40B4-BE49-F238E27FC236}">
                <a16:creationId xmlns:a16="http://schemas.microsoft.com/office/drawing/2014/main" id="{9ED5828F-8F6F-4738-BC10-43B225486D5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40364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6" name="Picture Placeholder 2">
            <a:extLst>
              <a:ext uri="{FF2B5EF4-FFF2-40B4-BE49-F238E27FC236}">
                <a16:creationId xmlns:a16="http://schemas.microsoft.com/office/drawing/2014/main" id="{E738D5B4-41AD-47FF-B2C3-F953D2665B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51252" y="2250000"/>
            <a:ext cx="2592000" cy="16929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63F5F59-A06F-4A43-B481-AC3D078E4175}"/>
              </a:ext>
            </a:extLst>
          </p:cNvPr>
          <p:cNvCxnSpPr>
            <a:cxnSpLocks/>
          </p:cNvCxnSpPr>
          <p:nvPr/>
        </p:nvCxnSpPr>
        <p:spPr>
          <a:xfrm>
            <a:off x="595799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3">
            <a:extLst>
              <a:ext uri="{FF2B5EF4-FFF2-40B4-BE49-F238E27FC236}">
                <a16:creationId xmlns:a16="http://schemas.microsoft.com/office/drawing/2014/main" id="{880895D5-6A9D-45D9-84A5-B48C071FA6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17A71A41-DCC6-44B5-8D6D-901E7A96F64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B7ADF330-AE85-40DE-835E-B49449314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17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D17ECCBE-9451-4EF2-9377-41ED7F99FD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9173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3BA6191-995D-4A8B-8097-1BCD8EA9E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2E4D74C-410E-483B-833E-4D7AE804ABE2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883744C2-8338-4510-922E-8171C1DBABC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B42B4048-3937-457B-8213-80A2A3628E05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5" name="Footer Placeholder 3">
            <a:extLst>
              <a:ext uri="{FF2B5EF4-FFF2-40B4-BE49-F238E27FC236}">
                <a16:creationId xmlns:a16="http://schemas.microsoft.com/office/drawing/2014/main" id="{D9EBCE9F-1CDE-44DC-9CF1-533B6C4977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D7BBE5E-1B61-4CA3-801A-918DA43350A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AD6BED7-E2E8-48E7-B6C3-3D790921CE02}"/>
              </a:ext>
            </a:extLst>
          </p:cNvPr>
          <p:cNvSpPr/>
          <p:nvPr userDrawn="1"/>
        </p:nvSpPr>
        <p:spPr>
          <a:xfrm>
            <a:off x="3341581" y="3969892"/>
            <a:ext cx="2592000" cy="214621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48163F1-E4CF-4E7D-A5AC-7F557B9F9888}"/>
              </a:ext>
            </a:extLst>
          </p:cNvPr>
          <p:cNvCxnSpPr>
            <a:cxnSpLocks/>
          </p:cNvCxnSpPr>
          <p:nvPr userDrawn="1"/>
        </p:nvCxnSpPr>
        <p:spPr>
          <a:xfrm>
            <a:off x="349305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D4DD34B9-07B3-45D6-A5BF-05306FFE4D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7642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445A936B-6A9C-4882-8BF5-60F2E1365B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7642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818D70A-6530-4BDD-B6BD-0AF00ED04C6D}"/>
              </a:ext>
            </a:extLst>
          </p:cNvPr>
          <p:cNvSpPr/>
          <p:nvPr userDrawn="1"/>
        </p:nvSpPr>
        <p:spPr>
          <a:xfrm>
            <a:off x="6240362" y="3969892"/>
            <a:ext cx="2592000" cy="214621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3D0D619-ECCB-4AFE-A59F-858FA4BFBE68}"/>
              </a:ext>
            </a:extLst>
          </p:cNvPr>
          <p:cNvCxnSpPr>
            <a:cxnSpLocks/>
          </p:cNvCxnSpPr>
          <p:nvPr userDrawn="1"/>
        </p:nvCxnSpPr>
        <p:spPr>
          <a:xfrm>
            <a:off x="639336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2">
            <a:extLst>
              <a:ext uri="{FF2B5EF4-FFF2-40B4-BE49-F238E27FC236}">
                <a16:creationId xmlns:a16="http://schemas.microsoft.com/office/drawing/2014/main" id="{F1F9C027-3BB0-4222-86AF-4FB620642C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7673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1" name="Text Placeholder 22">
            <a:extLst>
              <a:ext uri="{FF2B5EF4-FFF2-40B4-BE49-F238E27FC236}">
                <a16:creationId xmlns:a16="http://schemas.microsoft.com/office/drawing/2014/main" id="{13334C41-9D92-43F9-9466-EC60629C93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7673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7251D0E-07EF-48AE-B28B-8B7FE9960262}"/>
              </a:ext>
            </a:extLst>
          </p:cNvPr>
          <p:cNvSpPr/>
          <p:nvPr userDrawn="1"/>
        </p:nvSpPr>
        <p:spPr>
          <a:xfrm>
            <a:off x="9139143" y="3969892"/>
            <a:ext cx="2592000" cy="214621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9E8C4562-237D-43E7-9629-0C9E2F6F24A4}"/>
              </a:ext>
            </a:extLst>
          </p:cNvPr>
          <p:cNvCxnSpPr>
            <a:cxnSpLocks/>
          </p:cNvCxnSpPr>
          <p:nvPr userDrawn="1"/>
        </p:nvCxnSpPr>
        <p:spPr>
          <a:xfrm>
            <a:off x="929214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 Placeholder 22">
            <a:extLst>
              <a:ext uri="{FF2B5EF4-FFF2-40B4-BE49-F238E27FC236}">
                <a16:creationId xmlns:a16="http://schemas.microsoft.com/office/drawing/2014/main" id="{181F6102-B745-4818-A0BA-504371F266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7551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2C37B76-7729-4001-A7C4-B08D2F98971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7551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3232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w/ Ico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0764" y="2408983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3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48473" y="4427669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sz="1400"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20764" y="390296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09B9F4C-9DEC-4C04-B351-C0AF80F0C2A2}"/>
              </a:ext>
            </a:extLst>
          </p:cNvPr>
          <p:cNvSpPr/>
          <p:nvPr userDrawn="1"/>
        </p:nvSpPr>
        <p:spPr>
          <a:xfrm>
            <a:off x="5348713" y="369031"/>
            <a:ext cx="377904" cy="521508"/>
          </a:xfrm>
          <a:custGeom>
            <a:avLst/>
            <a:gdLst>
              <a:gd name="connsiteX0" fmla="*/ 0 w 1600010"/>
              <a:gd name="connsiteY0" fmla="*/ 564484 h 2208014"/>
              <a:gd name="connsiteX1" fmla="*/ 801499 w 1600010"/>
              <a:gd name="connsiteY1" fmla="*/ 0 h 2208014"/>
              <a:gd name="connsiteX2" fmla="*/ 1600650 w 1600010"/>
              <a:gd name="connsiteY2" fmla="*/ 564484 h 2208014"/>
              <a:gd name="connsiteX3" fmla="*/ 1600650 w 1600010"/>
              <a:gd name="connsiteY3" fmla="*/ 1673611 h 2208014"/>
              <a:gd name="connsiteX4" fmla="*/ 800325 w 1600010"/>
              <a:gd name="connsiteY4" fmla="*/ 2218361 h 2208014"/>
              <a:gd name="connsiteX5" fmla="*/ 0 w 1600010"/>
              <a:gd name="connsiteY5" fmla="*/ 1666998 h 2208014"/>
              <a:gd name="connsiteX6" fmla="*/ 0 w 1600010"/>
              <a:gd name="connsiteY6" fmla="*/ 564484 h 2208014"/>
              <a:gd name="connsiteX7" fmla="*/ 0 w 1600010"/>
              <a:gd name="connsiteY7" fmla="*/ 564484 h 2208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00010" h="2208014">
                <a:moveTo>
                  <a:pt x="0" y="564484"/>
                </a:moveTo>
                <a:lnTo>
                  <a:pt x="801499" y="0"/>
                </a:lnTo>
                <a:lnTo>
                  <a:pt x="1600650" y="564484"/>
                </a:lnTo>
                <a:lnTo>
                  <a:pt x="1600650" y="1673611"/>
                </a:lnTo>
                <a:lnTo>
                  <a:pt x="800325" y="2218361"/>
                </a:lnTo>
                <a:lnTo>
                  <a:pt x="0" y="1666998"/>
                </a:lnTo>
                <a:lnTo>
                  <a:pt x="0" y="564484"/>
                </a:lnTo>
                <a:lnTo>
                  <a:pt x="0" y="564484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Cambria" panose="02040503050406030204" pitchFamily="18" charset="0"/>
              <a:cs typeface="+mn-cs"/>
            </a:endParaRP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1F1A1A7D-1BE7-41E8-AC2D-AE6B08947B2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04315" y="477385"/>
            <a:ext cx="266700" cy="3048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EE4C06B-38BA-4258-A35B-A740ADC05DF2}"/>
              </a:ext>
            </a:extLst>
          </p:cNvPr>
          <p:cNvGrpSpPr/>
          <p:nvPr userDrawn="1"/>
        </p:nvGrpSpPr>
        <p:grpSpPr>
          <a:xfrm>
            <a:off x="5376422" y="4427669"/>
            <a:ext cx="377904" cy="521508"/>
            <a:chOff x="5302993" y="4340636"/>
            <a:chExt cx="377904" cy="521508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0BBA3B-007E-49C2-B8B9-A965F9165FC7}"/>
                </a:ext>
              </a:extLst>
            </p:cNvPr>
            <p:cNvSpPr/>
            <p:nvPr userDrawn="1"/>
          </p:nvSpPr>
          <p:spPr>
            <a:xfrm>
              <a:off x="5302993" y="434063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C0C001C4-EE98-4465-8B7B-D8A818ED69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367950" y="4472435"/>
              <a:ext cx="247990" cy="25791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F5648FF-6840-4E1E-B545-5ECC7A2C57F2}"/>
              </a:ext>
            </a:extLst>
          </p:cNvPr>
          <p:cNvGrpSpPr/>
          <p:nvPr userDrawn="1"/>
        </p:nvGrpSpPr>
        <p:grpSpPr>
          <a:xfrm>
            <a:off x="5348713" y="2408983"/>
            <a:ext cx="377904" cy="521508"/>
            <a:chOff x="5302993" y="2446026"/>
            <a:chExt cx="377904" cy="521508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C056E5A-50B8-4FF1-9AD8-E4003692D263}"/>
                </a:ext>
              </a:extLst>
            </p:cNvPr>
            <p:cNvSpPr/>
            <p:nvPr userDrawn="1"/>
          </p:nvSpPr>
          <p:spPr>
            <a:xfrm>
              <a:off x="5302993" y="244602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D99936D8-E816-4D48-9BE0-BF3EFC24B9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379372" y="2567719"/>
              <a:ext cx="225147" cy="278123"/>
            </a:xfrm>
            <a:prstGeom prst="rect">
              <a:avLst/>
            </a:prstGeom>
          </p:spPr>
        </p:pic>
      </p:grpSp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645429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373516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0" y="0"/>
            <a:ext cx="4772841" cy="6858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6793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1160" y="2408983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accent3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8869" y="4427669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11160" y="390296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5247" y="390296"/>
            <a:ext cx="4772841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628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05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9C8454E-BB72-479B-8325-AC89FEA19C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02" y="136604"/>
            <a:ext cx="12192000" cy="6857999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E1BFC2F-99FE-45E8-9D6F-546CAB2241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EECBC3-0434-4E5B-80EB-F18E5858D660}"/>
              </a:ext>
            </a:extLst>
          </p:cNvPr>
          <p:cNvCxnSpPr>
            <a:cxnSpLocks/>
          </p:cNvCxnSpPr>
          <p:nvPr userDrawn="1"/>
        </p:nvCxnSpPr>
        <p:spPr>
          <a:xfrm>
            <a:off x="442799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BECDE2C7-ADDA-481D-93A9-E61494A648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9C7DB8-50DE-4F4D-8D3A-E1B644BEBD0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  <p:sp>
        <p:nvSpPr>
          <p:cNvPr id="13" name="Freeform: Shape 38">
            <a:extLst>
              <a:ext uri="{FF2B5EF4-FFF2-40B4-BE49-F238E27FC236}">
                <a16:creationId xmlns:a16="http://schemas.microsoft.com/office/drawing/2014/main" id="{5BEACAC3-A4D3-4A5A-BCBD-6A6FB904BDBC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C2A9049B-2A71-4DF7-A59B-F291023D31D2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2" name="Graphic 16">
            <a:extLst>
              <a:ext uri="{FF2B5EF4-FFF2-40B4-BE49-F238E27FC236}">
                <a16:creationId xmlns:a16="http://schemas.microsoft.com/office/drawing/2014/main" id="{89A588B7-61A9-B51D-1079-A65795B6461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1690" y="3228422"/>
            <a:ext cx="2715762" cy="122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4439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8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18DAEFC-EF40-4589-9F6B-5C1699274A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4829D4-90BA-4FD9-8D4C-686E86FB239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800" y="6480000"/>
            <a:ext cx="2396518" cy="123111"/>
          </a:xfrm>
        </p:spPr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2" name="Freeform: Shape 38">
            <a:extLst>
              <a:ext uri="{FF2B5EF4-FFF2-40B4-BE49-F238E27FC236}">
                <a16:creationId xmlns:a16="http://schemas.microsoft.com/office/drawing/2014/main" id="{BF4677C3-BCF5-4855-9611-E85C96D9A70A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2D55CCF4-0B1D-4A3B-AD75-0E7051248497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2" name="Graphic 16">
            <a:extLst>
              <a:ext uri="{FF2B5EF4-FFF2-40B4-BE49-F238E27FC236}">
                <a16:creationId xmlns:a16="http://schemas.microsoft.com/office/drawing/2014/main" id="{1B53A7B8-EFFE-2850-75C7-FD88A4A6D1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17887" y="78394"/>
            <a:ext cx="2715762" cy="122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959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1013A4B-2C3A-4DE4-AACD-0C2F7C1BFAF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5775" y="-19896"/>
            <a:ext cx="12219085" cy="6891750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49724 w 12217364"/>
              <a:gd name="connsiteY0" fmla="*/ 0 h 6891750"/>
              <a:gd name="connsiteX1" fmla="*/ 12206053 w 12217364"/>
              <a:gd name="connsiteY1" fmla="*/ 4343205 h 6891750"/>
              <a:gd name="connsiteX2" fmla="*/ 12217364 w 12217364"/>
              <a:gd name="connsiteY2" fmla="*/ 6891750 h 6891750"/>
              <a:gd name="connsiteX3" fmla="*/ 4074449 w 12217364"/>
              <a:gd name="connsiteY3" fmla="*/ 6877896 h 6891750"/>
              <a:gd name="connsiteX4" fmla="*/ 14054 w 12217364"/>
              <a:gd name="connsiteY4" fmla="*/ 6850187 h 6891750"/>
              <a:gd name="connsiteX5" fmla="*/ 199 w 12217364"/>
              <a:gd name="connsiteY5" fmla="*/ 1516187 h 6891750"/>
              <a:gd name="connsiteX6" fmla="*/ 22741 w 12217364"/>
              <a:gd name="connsiteY6" fmla="*/ 19896 h 6891750"/>
              <a:gd name="connsiteX7" fmla="*/ 5949724 w 12217364"/>
              <a:gd name="connsiteY7" fmla="*/ 0 h 6891750"/>
              <a:gd name="connsiteX0" fmla="*/ 5949936 w 12217576"/>
              <a:gd name="connsiteY0" fmla="*/ 0 h 6891750"/>
              <a:gd name="connsiteX1" fmla="*/ 12206265 w 12217576"/>
              <a:gd name="connsiteY1" fmla="*/ 4343205 h 6891750"/>
              <a:gd name="connsiteX2" fmla="*/ 12217576 w 12217576"/>
              <a:gd name="connsiteY2" fmla="*/ 6891750 h 6891750"/>
              <a:gd name="connsiteX3" fmla="*/ 4074661 w 12217576"/>
              <a:gd name="connsiteY3" fmla="*/ 6877896 h 6891750"/>
              <a:gd name="connsiteX4" fmla="*/ 14266 w 12217576"/>
              <a:gd name="connsiteY4" fmla="*/ 6850187 h 6891750"/>
              <a:gd name="connsiteX5" fmla="*/ 411 w 12217576"/>
              <a:gd name="connsiteY5" fmla="*/ 1516187 h 6891750"/>
              <a:gd name="connsiteX6" fmla="*/ 7455 w 12217576"/>
              <a:gd name="connsiteY6" fmla="*/ 19896 h 6891750"/>
              <a:gd name="connsiteX7" fmla="*/ 5949936 w 12217576"/>
              <a:gd name="connsiteY7" fmla="*/ 0 h 6891750"/>
              <a:gd name="connsiteX0" fmla="*/ 5951445 w 12219085"/>
              <a:gd name="connsiteY0" fmla="*/ 0 h 6891750"/>
              <a:gd name="connsiteX1" fmla="*/ 12207774 w 12219085"/>
              <a:gd name="connsiteY1" fmla="*/ 4343205 h 6891750"/>
              <a:gd name="connsiteX2" fmla="*/ 12219085 w 12219085"/>
              <a:gd name="connsiteY2" fmla="*/ 6891750 h 6891750"/>
              <a:gd name="connsiteX3" fmla="*/ 4076170 w 12219085"/>
              <a:gd name="connsiteY3" fmla="*/ 6877896 h 6891750"/>
              <a:gd name="connsiteX4" fmla="*/ 1261 w 12219085"/>
              <a:gd name="connsiteY4" fmla="*/ 6879216 h 6891750"/>
              <a:gd name="connsiteX5" fmla="*/ 1920 w 12219085"/>
              <a:gd name="connsiteY5" fmla="*/ 1516187 h 6891750"/>
              <a:gd name="connsiteX6" fmla="*/ 8964 w 12219085"/>
              <a:gd name="connsiteY6" fmla="*/ 19896 h 6891750"/>
              <a:gd name="connsiteX7" fmla="*/ 5951445 w 12219085"/>
              <a:gd name="connsiteY7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9085" h="6891750">
                <a:moveTo>
                  <a:pt x="5951445" y="0"/>
                </a:moveTo>
                <a:lnTo>
                  <a:pt x="12207774" y="4343205"/>
                </a:lnTo>
                <a:cubicBezTo>
                  <a:pt x="12211544" y="5192720"/>
                  <a:pt x="12215315" y="6042235"/>
                  <a:pt x="12219085" y="6891750"/>
                </a:cubicBezTo>
                <a:lnTo>
                  <a:pt x="4076170" y="6877896"/>
                </a:lnTo>
                <a:lnTo>
                  <a:pt x="1261" y="6879216"/>
                </a:lnTo>
                <a:cubicBezTo>
                  <a:pt x="-3357" y="5110452"/>
                  <a:pt x="6538" y="3284951"/>
                  <a:pt x="1920" y="1516187"/>
                </a:cubicBezTo>
                <a:cubicBezTo>
                  <a:pt x="-898" y="1001925"/>
                  <a:pt x="11782" y="518660"/>
                  <a:pt x="8964" y="19896"/>
                </a:cubicBezTo>
                <a:lnTo>
                  <a:pt x="595144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FDCD53E-B970-474F-A296-7F5D3D3670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596681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F4D0EB71-A2B4-47F8-A43C-B44A52DA54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96BF9C-3A9B-4F3E-9F61-1D941B653E9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CD4190-9BC7-4476-AF83-E6D1A2BFB31D}"/>
              </a:ext>
            </a:extLst>
          </p:cNvPr>
          <p:cNvSpPr/>
          <p:nvPr userDrawn="1"/>
        </p:nvSpPr>
        <p:spPr>
          <a:xfrm rot="4191016">
            <a:off x="560557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84BD3FC-E6DB-474F-B265-92A120F91168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" name="Graphic 16">
            <a:extLst>
              <a:ext uri="{FF2B5EF4-FFF2-40B4-BE49-F238E27FC236}">
                <a16:creationId xmlns:a16="http://schemas.microsoft.com/office/drawing/2014/main" id="{C78F6C09-280B-CA2A-2106-145EE365CB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17887" y="78394"/>
            <a:ext cx="2715762" cy="122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0250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8">
            <a:extLst>
              <a:ext uri="{FF2B5EF4-FFF2-40B4-BE49-F238E27FC236}">
                <a16:creationId xmlns:a16="http://schemas.microsoft.com/office/drawing/2014/main" id="{5F0F5E84-3D08-463C-A2F4-3F622F79D6AE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635DDF-EA99-074A-B8AA-6DB89B54130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88272" y="1212712"/>
            <a:ext cx="8103729" cy="5645288"/>
          </a:xfrm>
          <a:custGeom>
            <a:avLst/>
            <a:gdLst>
              <a:gd name="connsiteX0" fmla="*/ 8103729 w 8103729"/>
              <a:gd name="connsiteY0" fmla="*/ 0 h 5645288"/>
              <a:gd name="connsiteX1" fmla="*/ 8103729 w 8103729"/>
              <a:gd name="connsiteY1" fmla="*/ 4023746 h 5645288"/>
              <a:gd name="connsiteX2" fmla="*/ 5764894 w 8103729"/>
              <a:gd name="connsiteY2" fmla="*/ 5645288 h 5645288"/>
              <a:gd name="connsiteX3" fmla="*/ 0 w 8103729"/>
              <a:gd name="connsiteY3" fmla="*/ 5645288 h 5645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03729" h="5645288">
                <a:moveTo>
                  <a:pt x="8103729" y="0"/>
                </a:moveTo>
                <a:lnTo>
                  <a:pt x="8103729" y="4023746"/>
                </a:lnTo>
                <a:lnTo>
                  <a:pt x="5764894" y="5645288"/>
                </a:lnTo>
                <a:lnTo>
                  <a:pt x="0" y="5645288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8871D4E-8962-41E4-B7BC-D6881361F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AB3759-2ABA-419B-8B4A-9D837809ED6D}"/>
              </a:ext>
            </a:extLst>
          </p:cNvPr>
          <p:cNvCxnSpPr/>
          <p:nvPr userDrawn="1"/>
        </p:nvCxnSpPr>
        <p:spPr>
          <a:xfrm>
            <a:off x="442800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2A88DD9-1E9D-4979-91FB-355894EC6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D8CA00-0351-4439-80FC-0A747C09242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D7F1981D-B15C-4509-BD6A-04D49D3FAFB5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20">
            <a:extLst>
              <a:ext uri="{FF2B5EF4-FFF2-40B4-BE49-F238E27FC236}">
                <a16:creationId xmlns:a16="http://schemas.microsoft.com/office/drawing/2014/main" id="{3F6CD97A-AEFF-4042-B3F6-70888095713D}"/>
              </a:ext>
            </a:extLst>
          </p:cNvPr>
          <p:cNvSpPr/>
          <p:nvPr userDrawn="1"/>
        </p:nvSpPr>
        <p:spPr>
          <a:xfrm flipH="1">
            <a:off x="8774596" y="4407877"/>
            <a:ext cx="3417404" cy="2450123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119338 w 4913588"/>
              <a:gd name="connsiteY3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119338 w 4913588"/>
              <a:gd name="connsiteY4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2404721 w 4913588"/>
              <a:gd name="connsiteY4" fmla="*/ 2201134 h 2209800"/>
              <a:gd name="connsiteX5" fmla="*/ 119338 w 4913588"/>
              <a:gd name="connsiteY5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2404721 w 4913588"/>
              <a:gd name="connsiteY3" fmla="*/ 398631 h 2209800"/>
              <a:gd name="connsiteX4" fmla="*/ 4913588 w 4913588"/>
              <a:gd name="connsiteY4" fmla="*/ 2209800 h 2209800"/>
              <a:gd name="connsiteX5" fmla="*/ 2404721 w 4913588"/>
              <a:gd name="connsiteY5" fmla="*/ 2201134 h 2209800"/>
              <a:gd name="connsiteX6" fmla="*/ 2404721 w 4913588"/>
              <a:gd name="connsiteY6" fmla="*/ 2201134 h 2209800"/>
              <a:gd name="connsiteX7" fmla="*/ 119338 w 4913588"/>
              <a:gd name="connsiteY7" fmla="*/ 2209800 h 2209800"/>
              <a:gd name="connsiteX0" fmla="*/ 4 w 4794254"/>
              <a:gd name="connsiteY0" fmla="*/ 1811169 h 1811169"/>
              <a:gd name="connsiteX1" fmla="*/ 2268056 w 4794254"/>
              <a:gd name="connsiteY1" fmla="*/ 0 h 1811169"/>
              <a:gd name="connsiteX2" fmla="*/ 2285387 w 4794254"/>
              <a:gd name="connsiteY2" fmla="*/ 0 h 1811169"/>
              <a:gd name="connsiteX3" fmla="*/ 4794254 w 4794254"/>
              <a:gd name="connsiteY3" fmla="*/ 1811169 h 1811169"/>
              <a:gd name="connsiteX4" fmla="*/ 2285387 w 4794254"/>
              <a:gd name="connsiteY4" fmla="*/ 1802503 h 1811169"/>
              <a:gd name="connsiteX5" fmla="*/ 2285387 w 4794254"/>
              <a:gd name="connsiteY5" fmla="*/ 1802503 h 1811169"/>
              <a:gd name="connsiteX6" fmla="*/ 4 w 4794254"/>
              <a:gd name="connsiteY6" fmla="*/ 1811169 h 1811169"/>
              <a:gd name="connsiteX0" fmla="*/ 17331 w 2526198"/>
              <a:gd name="connsiteY0" fmla="*/ 1802503 h 1811169"/>
              <a:gd name="connsiteX1" fmla="*/ 0 w 2526198"/>
              <a:gd name="connsiteY1" fmla="*/ 0 h 1811169"/>
              <a:gd name="connsiteX2" fmla="*/ 17331 w 2526198"/>
              <a:gd name="connsiteY2" fmla="*/ 0 h 1811169"/>
              <a:gd name="connsiteX3" fmla="*/ 2526198 w 2526198"/>
              <a:gd name="connsiteY3" fmla="*/ 1811169 h 1811169"/>
              <a:gd name="connsiteX4" fmla="*/ 17331 w 2526198"/>
              <a:gd name="connsiteY4" fmla="*/ 1802503 h 1811169"/>
              <a:gd name="connsiteX5" fmla="*/ 17331 w 2526198"/>
              <a:gd name="connsiteY5" fmla="*/ 1802503 h 181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6198" h="1811169">
                <a:moveTo>
                  <a:pt x="17331" y="1802503"/>
                </a:moveTo>
                <a:lnTo>
                  <a:pt x="0" y="0"/>
                </a:lnTo>
                <a:lnTo>
                  <a:pt x="17331" y="0"/>
                </a:lnTo>
                <a:lnTo>
                  <a:pt x="2526198" y="1811169"/>
                </a:lnTo>
                <a:lnTo>
                  <a:pt x="17331" y="1802503"/>
                </a:lnTo>
                <a:lnTo>
                  <a:pt x="17331" y="1802503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pic>
        <p:nvPicPr>
          <p:cNvPr id="2" name="Graphic 16">
            <a:extLst>
              <a:ext uri="{FF2B5EF4-FFF2-40B4-BE49-F238E27FC236}">
                <a16:creationId xmlns:a16="http://schemas.microsoft.com/office/drawing/2014/main" id="{506D5500-8409-33FB-A111-2FBE0A9D48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1690" y="3228422"/>
            <a:ext cx="2715762" cy="122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9575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197EE4D-06D9-6D48-B606-48101EB68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4990" y="0"/>
            <a:ext cx="5724910" cy="6858000"/>
          </a:xfrm>
          <a:custGeom>
            <a:avLst/>
            <a:gdLst>
              <a:gd name="connsiteX0" fmla="*/ 3899193 w 5724910"/>
              <a:gd name="connsiteY0" fmla="*/ 0 h 6858000"/>
              <a:gd name="connsiteX1" fmla="*/ 5724910 w 5724910"/>
              <a:gd name="connsiteY1" fmla="*/ 0 h 6858000"/>
              <a:gd name="connsiteX2" fmla="*/ 5724910 w 5724910"/>
              <a:gd name="connsiteY2" fmla="*/ 4117441 h 6858000"/>
              <a:gd name="connsiteX3" fmla="*/ 1757271 w 5724910"/>
              <a:gd name="connsiteY3" fmla="*/ 6858000 h 6858000"/>
              <a:gd name="connsiteX4" fmla="*/ 0 w 5724910"/>
              <a:gd name="connsiteY4" fmla="*/ 6854510 h 6858000"/>
              <a:gd name="connsiteX5" fmla="*/ 10128 w 5724910"/>
              <a:gd name="connsiteY5" fmla="*/ 270433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24910" h="6858000">
                <a:moveTo>
                  <a:pt x="3899193" y="0"/>
                </a:moveTo>
                <a:lnTo>
                  <a:pt x="5724910" y="0"/>
                </a:lnTo>
                <a:lnTo>
                  <a:pt x="5724910" y="4117441"/>
                </a:lnTo>
                <a:lnTo>
                  <a:pt x="1757271" y="6858000"/>
                </a:lnTo>
                <a:lnTo>
                  <a:pt x="0" y="6854510"/>
                </a:lnTo>
                <a:lnTo>
                  <a:pt x="10128" y="270433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90C636B-5A5D-4399-980F-44E3735BC7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2040219"/>
            <a:ext cx="4004632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6000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hank you</a:t>
            </a:r>
            <a:endParaRPr lang="en-GB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218638D0-EA79-4658-BBAF-F7CBC3D7A6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42416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8" name="Freeform: Shape 38">
            <a:extLst>
              <a:ext uri="{FF2B5EF4-FFF2-40B4-BE49-F238E27FC236}">
                <a16:creationId xmlns:a16="http://schemas.microsoft.com/office/drawing/2014/main" id="{88DD9336-317D-4740-9853-D4062BAB0838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Freeform: Shape 38">
            <a:extLst>
              <a:ext uri="{FF2B5EF4-FFF2-40B4-BE49-F238E27FC236}">
                <a16:creationId xmlns:a16="http://schemas.microsoft.com/office/drawing/2014/main" id="{98B81505-8EBE-43E4-B7C6-0E608556BE6D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2" name="Graphic 16">
            <a:extLst>
              <a:ext uri="{FF2B5EF4-FFF2-40B4-BE49-F238E27FC236}">
                <a16:creationId xmlns:a16="http://schemas.microsoft.com/office/drawing/2014/main" id="{E7EE325C-453B-74C7-CC3D-B450CF38A9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17887" y="78394"/>
            <a:ext cx="2715762" cy="122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3336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50E1F8B-3FCA-4834-843E-9369F84050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8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C19C9AC-2634-47D0-8C0A-A04C4A7BFF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17887" y="78394"/>
            <a:ext cx="2715762" cy="1227001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18DAEFC-EF40-4589-9F6B-5C1699274A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12" name="Freeform: Shape 38">
            <a:extLst>
              <a:ext uri="{FF2B5EF4-FFF2-40B4-BE49-F238E27FC236}">
                <a16:creationId xmlns:a16="http://schemas.microsoft.com/office/drawing/2014/main" id="{BF4677C3-BCF5-4855-9611-E85C96D9A70A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2D55CCF4-0B1D-4A3B-AD75-0E7051248497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757B9-1AC3-4FAB-AFCD-5BE4A4272A5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3 Copyright Genpact. All Rights Reserved.</a:t>
            </a:r>
            <a:endParaRPr lang="en-US">
              <a:ea typeface="Cambria" panose="02040503050406030204" pitchFamily="18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347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59D8B05-D21B-4C78-89BD-EB314603F8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E244E71-2C6D-4FAE-9016-5F18B979812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3855" y="-11575"/>
            <a:ext cx="12217165" cy="6869575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6265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61744 w 12229384"/>
              <a:gd name="connsiteY0" fmla="*/ 0 h 6891750"/>
              <a:gd name="connsiteX1" fmla="*/ 12218073 w 12229384"/>
              <a:gd name="connsiteY1" fmla="*/ 4343205 h 6891750"/>
              <a:gd name="connsiteX2" fmla="*/ 12229384 w 12229384"/>
              <a:gd name="connsiteY2" fmla="*/ 6891750 h 6891750"/>
              <a:gd name="connsiteX3" fmla="*/ 4086469 w 12229384"/>
              <a:gd name="connsiteY3" fmla="*/ 6862656 h 6891750"/>
              <a:gd name="connsiteX4" fmla="*/ 674 w 12229384"/>
              <a:gd name="connsiteY4" fmla="*/ 6860347 h 6891750"/>
              <a:gd name="connsiteX5" fmla="*/ 12219 w 12229384"/>
              <a:gd name="connsiteY5" fmla="*/ 1516187 h 6891750"/>
              <a:gd name="connsiteX6" fmla="*/ 2173528 w 12229384"/>
              <a:gd name="connsiteY6" fmla="*/ 19896 h 6891750"/>
              <a:gd name="connsiteX7" fmla="*/ 5961744 w 12229384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62656 h 6891750"/>
              <a:gd name="connsiteX4" fmla="*/ 8775 w 12217165"/>
              <a:gd name="connsiteY4" fmla="*/ 689082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8775 w 12217165"/>
              <a:gd name="connsiteY3" fmla="*/ 6890827 h 6891750"/>
              <a:gd name="connsiteX4" fmla="*/ 0 w 12217165"/>
              <a:gd name="connsiteY4" fmla="*/ 1516187 h 6891750"/>
              <a:gd name="connsiteX5" fmla="*/ 2161309 w 12217165"/>
              <a:gd name="connsiteY5" fmla="*/ 19896 h 6891750"/>
              <a:gd name="connsiteX6" fmla="*/ 5949525 w 12217165"/>
              <a:gd name="connsiteY6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17165" h="6891750">
                <a:moveTo>
                  <a:pt x="5949525" y="0"/>
                </a:moveTo>
                <a:lnTo>
                  <a:pt x="12205854" y="4343205"/>
                </a:lnTo>
                <a:cubicBezTo>
                  <a:pt x="12209624" y="5192720"/>
                  <a:pt x="12213395" y="6042235"/>
                  <a:pt x="12217165" y="6891750"/>
                </a:cubicBezTo>
                <a:lnTo>
                  <a:pt x="8775" y="6890827"/>
                </a:lnTo>
                <a:cubicBezTo>
                  <a:pt x="4157" y="5122063"/>
                  <a:pt x="4618" y="3284951"/>
                  <a:pt x="0" y="1516187"/>
                </a:cubicBezTo>
                <a:lnTo>
                  <a:pt x="2161309" y="19896"/>
                </a:lnTo>
                <a:lnTo>
                  <a:pt x="594952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434872"/>
            <a:ext cx="6397626" cy="121859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800" y="2335488"/>
            <a:ext cx="6443999" cy="381000"/>
          </a:xfrm>
          <a:prstGeom prst="rect">
            <a:avLst/>
          </a:prstGeom>
        </p:spPr>
        <p:txBody>
          <a:bodyPr lIns="0" tIns="0" rIns="360000" b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5C7979F-B5FA-491A-9674-811E416D3A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999782"/>
            <a:ext cx="6454310" cy="990000"/>
          </a:xfrm>
        </p:spPr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eck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D4976B8-BC22-4FB2-BECC-2F92BC01DC7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800" y="6480000"/>
            <a:ext cx="2396518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AA631FB-D42E-4C3F-8885-696AF4E9B4B2}"/>
              </a:ext>
            </a:extLst>
          </p:cNvPr>
          <p:cNvSpPr/>
          <p:nvPr userDrawn="1"/>
        </p:nvSpPr>
        <p:spPr>
          <a:xfrm rot="4191016">
            <a:off x="560557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2B9A1AF-97F2-4951-AD29-661ACC6A1482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BD8DDAA6-AFDC-48A0-BB6B-AC0E7FCC76A9}"/>
              </a:ext>
            </a:extLst>
          </p:cNvPr>
          <p:cNvSpPr/>
          <p:nvPr userDrawn="1"/>
        </p:nvSpPr>
        <p:spPr>
          <a:xfrm rot="17408984" flipH="1">
            <a:off x="-306984" y="-277922"/>
            <a:ext cx="2647720" cy="2280654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" name="Graphic 16">
            <a:extLst>
              <a:ext uri="{FF2B5EF4-FFF2-40B4-BE49-F238E27FC236}">
                <a16:creationId xmlns:a16="http://schemas.microsoft.com/office/drawing/2014/main" id="{B88ED309-57EE-1213-12AE-4CDF6093831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17887" y="78394"/>
            <a:ext cx="2715762" cy="122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9475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546BC35-35BA-4F18-BB54-7267E0AF31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52F038EE-63DB-4468-A7FF-D4C488C62278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0C92DC8-8F9B-FD4C-A423-93681EAA05B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4357" y="1202822"/>
            <a:ext cx="8127643" cy="5655179"/>
          </a:xfrm>
          <a:custGeom>
            <a:avLst/>
            <a:gdLst>
              <a:gd name="connsiteX0" fmla="*/ 8127643 w 8127643"/>
              <a:gd name="connsiteY0" fmla="*/ 0 h 5655179"/>
              <a:gd name="connsiteX1" fmla="*/ 8127643 w 8127643"/>
              <a:gd name="connsiteY1" fmla="*/ 4020543 h 5655179"/>
              <a:gd name="connsiteX2" fmla="*/ 5775413 w 8127643"/>
              <a:gd name="connsiteY2" fmla="*/ 5655179 h 5655179"/>
              <a:gd name="connsiteX3" fmla="*/ 0 w 8127643"/>
              <a:gd name="connsiteY3" fmla="*/ 5655179 h 5655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7643" h="5655179">
                <a:moveTo>
                  <a:pt x="8127643" y="0"/>
                </a:moveTo>
                <a:lnTo>
                  <a:pt x="8127643" y="4020543"/>
                </a:lnTo>
                <a:lnTo>
                  <a:pt x="5775413" y="5655179"/>
                </a:lnTo>
                <a:lnTo>
                  <a:pt x="0" y="565517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2376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lang="en-GB" sz="1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  <a:p>
            <a:pPr marL="0" lvl="0" indent="0" algn="ctr"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873B3ECE-66FA-8F4A-9BA4-70589FB28F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6A979B9-FB94-CB41-BC9E-B6C559E0F5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197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D50170-9A03-4DF0-ADB1-B9E0F3635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1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C11DD6-F2E7-4DAD-A8D2-25B1960A815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42800" y="6480000"/>
            <a:ext cx="2396518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E106C1-E5A4-4F33-AEF9-E4AE65A838B4}"/>
              </a:ext>
            </a:extLst>
          </p:cNvPr>
          <p:cNvSpPr/>
          <p:nvPr userDrawn="1"/>
        </p:nvSpPr>
        <p:spPr>
          <a:xfrm rot="17391976" flipH="1">
            <a:off x="9340351" y="4575372"/>
            <a:ext cx="3055372" cy="2597595"/>
          </a:xfrm>
          <a:custGeom>
            <a:avLst/>
            <a:gdLst>
              <a:gd name="connsiteX0" fmla="*/ 0 w 4662314"/>
              <a:gd name="connsiteY0" fmla="*/ 3205489 h 3391128"/>
              <a:gd name="connsiteX1" fmla="*/ 513768 w 4662314"/>
              <a:gd name="connsiteY1" fmla="*/ 3391128 h 3391128"/>
              <a:gd name="connsiteX2" fmla="*/ 4662314 w 4662314"/>
              <a:gd name="connsiteY2" fmla="*/ 452233 h 3391128"/>
              <a:gd name="connsiteX3" fmla="*/ 4542036 w 4662314"/>
              <a:gd name="connsiteY3" fmla="*/ 0 h 3391128"/>
              <a:gd name="connsiteX0" fmla="*/ 0 w 4662314"/>
              <a:gd name="connsiteY0" fmla="*/ 3205489 h 3683558"/>
              <a:gd name="connsiteX1" fmla="*/ 1543623 w 4662314"/>
              <a:gd name="connsiteY1" fmla="*/ 3683558 h 3683558"/>
              <a:gd name="connsiteX2" fmla="*/ 4662314 w 4662314"/>
              <a:gd name="connsiteY2" fmla="*/ 452233 h 3683558"/>
              <a:gd name="connsiteX3" fmla="*/ 4542036 w 4662314"/>
              <a:gd name="connsiteY3" fmla="*/ 0 h 3683558"/>
              <a:gd name="connsiteX4" fmla="*/ 0 w 4662314"/>
              <a:gd name="connsiteY4" fmla="*/ 3205489 h 3683558"/>
              <a:gd name="connsiteX0" fmla="*/ 0 w 4662314"/>
              <a:gd name="connsiteY0" fmla="*/ 3205489 h 3744923"/>
              <a:gd name="connsiteX1" fmla="*/ 1586816 w 4662314"/>
              <a:gd name="connsiteY1" fmla="*/ 3744922 h 3744923"/>
              <a:gd name="connsiteX2" fmla="*/ 4662314 w 4662314"/>
              <a:gd name="connsiteY2" fmla="*/ 452233 h 3744923"/>
              <a:gd name="connsiteX3" fmla="*/ 4542036 w 4662314"/>
              <a:gd name="connsiteY3" fmla="*/ 0 h 3744923"/>
              <a:gd name="connsiteX4" fmla="*/ 0 w 4662314"/>
              <a:gd name="connsiteY4" fmla="*/ 3205489 h 3744923"/>
              <a:gd name="connsiteX0" fmla="*/ 0 w 4542036"/>
              <a:gd name="connsiteY0" fmla="*/ 3205489 h 3744922"/>
              <a:gd name="connsiteX1" fmla="*/ 1586816 w 4542036"/>
              <a:gd name="connsiteY1" fmla="*/ 3744922 h 3744922"/>
              <a:gd name="connsiteX2" fmla="*/ 3838762 w 4542036"/>
              <a:gd name="connsiteY2" fmla="*/ 2176681 h 3744922"/>
              <a:gd name="connsiteX3" fmla="*/ 4542036 w 4542036"/>
              <a:gd name="connsiteY3" fmla="*/ 0 h 3744922"/>
              <a:gd name="connsiteX4" fmla="*/ 0 w 4542036"/>
              <a:gd name="connsiteY4" fmla="*/ 3205489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838114 w 4541388"/>
              <a:gd name="connsiteY2" fmla="*/ 2176681 h 3744922"/>
              <a:gd name="connsiteX3" fmla="*/ 4541388 w 4541388"/>
              <a:gd name="connsiteY3" fmla="*/ 0 h 3744922"/>
              <a:gd name="connsiteX4" fmla="*/ 0 w 4541388"/>
              <a:gd name="connsiteY4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0 w 4541388"/>
              <a:gd name="connsiteY5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3906986 w 4541388"/>
              <a:gd name="connsiteY5" fmla="*/ 418650 h 3744922"/>
              <a:gd name="connsiteX6" fmla="*/ 0 w 4541388"/>
              <a:gd name="connsiteY6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4541388 w 4541388"/>
              <a:gd name="connsiteY3" fmla="*/ 0 h 3744922"/>
              <a:gd name="connsiteX4" fmla="*/ 3906986 w 4541388"/>
              <a:gd name="connsiteY4" fmla="*/ 418650 h 3744922"/>
              <a:gd name="connsiteX5" fmla="*/ 0 w 4541388"/>
              <a:gd name="connsiteY5" fmla="*/ 3179576 h 3744922"/>
              <a:gd name="connsiteX0" fmla="*/ 0 w 3906986"/>
              <a:gd name="connsiteY0" fmla="*/ 2760926 h 3326272"/>
              <a:gd name="connsiteX1" fmla="*/ 1586168 w 3906986"/>
              <a:gd name="connsiteY1" fmla="*/ 3326272 h 3326272"/>
              <a:gd name="connsiteX2" fmla="*/ 3117387 w 3906986"/>
              <a:gd name="connsiteY2" fmla="*/ 2233505 h 3326272"/>
              <a:gd name="connsiteX3" fmla="*/ 3906986 w 3906986"/>
              <a:gd name="connsiteY3" fmla="*/ 0 h 3326272"/>
              <a:gd name="connsiteX4" fmla="*/ 0 w 3906986"/>
              <a:gd name="connsiteY4" fmla="*/ 2760926 h 3326272"/>
              <a:gd name="connsiteX0" fmla="*/ 0 w 3944041"/>
              <a:gd name="connsiteY0" fmla="*/ 2791114 h 3356460"/>
              <a:gd name="connsiteX1" fmla="*/ 1586168 w 3944041"/>
              <a:gd name="connsiteY1" fmla="*/ 3356460 h 3356460"/>
              <a:gd name="connsiteX2" fmla="*/ 3117387 w 3944041"/>
              <a:gd name="connsiteY2" fmla="*/ 2263693 h 3356460"/>
              <a:gd name="connsiteX3" fmla="*/ 3944041 w 3944041"/>
              <a:gd name="connsiteY3" fmla="*/ 0 h 3356460"/>
              <a:gd name="connsiteX4" fmla="*/ 0 w 3944041"/>
              <a:gd name="connsiteY4" fmla="*/ 2791114 h 3356460"/>
              <a:gd name="connsiteX0" fmla="*/ 0 w 3944041"/>
              <a:gd name="connsiteY0" fmla="*/ 2791114 h 3353118"/>
              <a:gd name="connsiteX1" fmla="*/ 1576917 w 3944041"/>
              <a:gd name="connsiteY1" fmla="*/ 3353118 h 3353118"/>
              <a:gd name="connsiteX2" fmla="*/ 3117387 w 3944041"/>
              <a:gd name="connsiteY2" fmla="*/ 2263693 h 3353118"/>
              <a:gd name="connsiteX3" fmla="*/ 3944041 w 3944041"/>
              <a:gd name="connsiteY3" fmla="*/ 0 h 3353118"/>
              <a:gd name="connsiteX4" fmla="*/ 0 w 3944041"/>
              <a:gd name="connsiteY4" fmla="*/ 2791114 h 3353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4041" h="3353118">
                <a:moveTo>
                  <a:pt x="0" y="2791114"/>
                </a:moveTo>
                <a:lnTo>
                  <a:pt x="1576917" y="3353118"/>
                </a:lnTo>
                <a:lnTo>
                  <a:pt x="3117387" y="2263693"/>
                </a:lnTo>
                <a:lnTo>
                  <a:pt x="3944041" y="0"/>
                </a:lnTo>
                <a:lnTo>
                  <a:pt x="0" y="2791114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3666787-C34F-4060-9C0B-3567CC8D732A}"/>
              </a:ext>
            </a:extLst>
          </p:cNvPr>
          <p:cNvSpPr/>
          <p:nvPr userDrawn="1"/>
        </p:nvSpPr>
        <p:spPr>
          <a:xfrm rot="3299037">
            <a:off x="4967294" y="3351762"/>
            <a:ext cx="1106312" cy="5035605"/>
          </a:xfrm>
          <a:custGeom>
            <a:avLst/>
            <a:gdLst>
              <a:gd name="connsiteX0" fmla="*/ 0 w 1208279"/>
              <a:gd name="connsiteY0" fmla="*/ 444052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0" fmla="*/ 12488 w 1208279"/>
              <a:gd name="connsiteY0" fmla="*/ 290096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4" fmla="*/ 12488 w 1208279"/>
              <a:gd name="connsiteY4" fmla="*/ 290096 h 5841369"/>
              <a:gd name="connsiteX0" fmla="*/ 12488 w 1208279"/>
              <a:gd name="connsiteY0" fmla="*/ 386502 h 5937775"/>
              <a:gd name="connsiteX1" fmla="*/ 1118728 w 1208279"/>
              <a:gd name="connsiteY1" fmla="*/ 0 h 5937775"/>
              <a:gd name="connsiteX2" fmla="*/ 1208279 w 1208279"/>
              <a:gd name="connsiteY2" fmla="*/ 4213202 h 5937775"/>
              <a:gd name="connsiteX3" fmla="*/ 0 w 1208279"/>
              <a:gd name="connsiteY3" fmla="*/ 5937775 h 5937775"/>
              <a:gd name="connsiteX4" fmla="*/ 12488 w 1208279"/>
              <a:gd name="connsiteY4" fmla="*/ 386502 h 5937775"/>
              <a:gd name="connsiteX0" fmla="*/ 12488 w 1118728"/>
              <a:gd name="connsiteY0" fmla="*/ 386502 h 5937775"/>
              <a:gd name="connsiteX1" fmla="*/ 1118728 w 1118728"/>
              <a:gd name="connsiteY1" fmla="*/ 0 h 5937775"/>
              <a:gd name="connsiteX2" fmla="*/ 1098667 w 1118728"/>
              <a:gd name="connsiteY2" fmla="*/ 4377658 h 5937775"/>
              <a:gd name="connsiteX3" fmla="*/ 0 w 1118728"/>
              <a:gd name="connsiteY3" fmla="*/ 5937775 h 5937775"/>
              <a:gd name="connsiteX4" fmla="*/ 12488 w 1118728"/>
              <a:gd name="connsiteY4" fmla="*/ 386502 h 5937775"/>
              <a:gd name="connsiteX0" fmla="*/ 286229 w 1392469"/>
              <a:gd name="connsiteY0" fmla="*/ 386502 h 6395953"/>
              <a:gd name="connsiteX1" fmla="*/ 1392469 w 1392469"/>
              <a:gd name="connsiteY1" fmla="*/ 0 h 6395953"/>
              <a:gd name="connsiteX2" fmla="*/ 1372408 w 1392469"/>
              <a:gd name="connsiteY2" fmla="*/ 4377658 h 6395953"/>
              <a:gd name="connsiteX3" fmla="*/ 0 w 1392469"/>
              <a:gd name="connsiteY3" fmla="*/ 6395953 h 6395953"/>
              <a:gd name="connsiteX4" fmla="*/ 286229 w 1392469"/>
              <a:gd name="connsiteY4" fmla="*/ 386502 h 6395953"/>
              <a:gd name="connsiteX0" fmla="*/ 0 w 1405178"/>
              <a:gd name="connsiteY0" fmla="*/ 425228 h 6395953"/>
              <a:gd name="connsiteX1" fmla="*/ 1405178 w 1405178"/>
              <a:gd name="connsiteY1" fmla="*/ 0 h 6395953"/>
              <a:gd name="connsiteX2" fmla="*/ 1385117 w 1405178"/>
              <a:gd name="connsiteY2" fmla="*/ 4377658 h 6395953"/>
              <a:gd name="connsiteX3" fmla="*/ 12709 w 1405178"/>
              <a:gd name="connsiteY3" fmla="*/ 6395953 h 6395953"/>
              <a:gd name="connsiteX4" fmla="*/ 0 w 1405178"/>
              <a:gd name="connsiteY4" fmla="*/ 425228 h 6395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5178" h="6395953">
                <a:moveTo>
                  <a:pt x="0" y="425228"/>
                </a:moveTo>
                <a:lnTo>
                  <a:pt x="1405178" y="0"/>
                </a:lnTo>
                <a:lnTo>
                  <a:pt x="1385117" y="4377658"/>
                </a:lnTo>
                <a:cubicBezTo>
                  <a:pt x="1018895" y="4897697"/>
                  <a:pt x="378931" y="5875914"/>
                  <a:pt x="12709" y="6395953"/>
                </a:cubicBezTo>
                <a:cubicBezTo>
                  <a:pt x="12709" y="4596847"/>
                  <a:pt x="0" y="2224334"/>
                  <a:pt x="0" y="425228"/>
                </a:cubicBez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2"/>
              </a:solidFill>
            </a:endParaRPr>
          </a:p>
        </p:txBody>
      </p:sp>
      <p:pic>
        <p:nvPicPr>
          <p:cNvPr id="2" name="Graphic 16">
            <a:extLst>
              <a:ext uri="{FF2B5EF4-FFF2-40B4-BE49-F238E27FC236}">
                <a16:creationId xmlns:a16="http://schemas.microsoft.com/office/drawing/2014/main" id="{CDBAA73D-392C-066B-52E5-873290B1F6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17887" y="78394"/>
            <a:ext cx="2715762" cy="122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2124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6C145B5-FAED-4ECD-8026-AC6DFC2F67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0AF48DA9-E99B-4AAD-8AED-1F315BB61CAB}"/>
              </a:ext>
            </a:extLst>
          </p:cNvPr>
          <p:cNvSpPr/>
          <p:nvPr userDrawn="1"/>
        </p:nvSpPr>
        <p:spPr>
          <a:xfrm rot="5400000">
            <a:off x="0" y="1"/>
            <a:ext cx="3815466" cy="3815466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7132858-3690-C942-AE55-74072A035C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"/>
            <a:ext cx="5711211" cy="6857999"/>
          </a:xfrm>
          <a:custGeom>
            <a:avLst/>
            <a:gdLst>
              <a:gd name="connsiteX0" fmla="*/ 3888681 w 5711211"/>
              <a:gd name="connsiteY0" fmla="*/ 0 h 6857999"/>
              <a:gd name="connsiteX1" fmla="*/ 5711211 w 5711211"/>
              <a:gd name="connsiteY1" fmla="*/ 0 h 6857999"/>
              <a:gd name="connsiteX2" fmla="*/ 5711211 w 5711211"/>
              <a:gd name="connsiteY2" fmla="*/ 4103993 h 6857999"/>
              <a:gd name="connsiteX3" fmla="*/ 1739709 w 5711211"/>
              <a:gd name="connsiteY3" fmla="*/ 6857999 h 6857999"/>
              <a:gd name="connsiteX4" fmla="*/ 0 w 5711211"/>
              <a:gd name="connsiteY4" fmla="*/ 6857999 h 6857999"/>
              <a:gd name="connsiteX5" fmla="*/ 0 w 5711211"/>
              <a:gd name="connsiteY5" fmla="*/ 271410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1211" h="6857999">
                <a:moveTo>
                  <a:pt x="3888681" y="0"/>
                </a:moveTo>
                <a:lnTo>
                  <a:pt x="5711211" y="0"/>
                </a:lnTo>
                <a:lnTo>
                  <a:pt x="5711211" y="4103993"/>
                </a:lnTo>
                <a:lnTo>
                  <a:pt x="1739709" y="6857999"/>
                </a:lnTo>
                <a:lnTo>
                  <a:pt x="0" y="6857999"/>
                </a:lnTo>
                <a:lnTo>
                  <a:pt x="0" y="2714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2414" y="2259127"/>
            <a:ext cx="4004633" cy="3810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Subtitle goes here</a:t>
            </a:r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2D878DF-45CE-48C4-ADBA-897AA41158B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2620" y="387487"/>
            <a:ext cx="2189142" cy="91013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F0A4E75-D008-4A3D-9E2B-EFA56AA2C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3100375"/>
            <a:ext cx="4004632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850966A-A907-44E5-AD4A-B2C25296B1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42415" y="4550622"/>
            <a:ext cx="4004632" cy="581046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CF0C42AB-56AB-4CD9-BC29-E642601C21CA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Freeform: Shape 38">
            <a:extLst>
              <a:ext uri="{FF2B5EF4-FFF2-40B4-BE49-F238E27FC236}">
                <a16:creationId xmlns:a16="http://schemas.microsoft.com/office/drawing/2014/main" id="{64FAF79B-779C-47A3-89F1-134187E543EF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96DC3D-7488-477F-B5D0-C4E18D0F845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9325244" y="6480000"/>
            <a:ext cx="2396518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860600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>
            <a:extLst>
              <a:ext uri="{FF2B5EF4-FFF2-40B4-BE49-F238E27FC236}">
                <a16:creationId xmlns:a16="http://schemas.microsoft.com/office/drawing/2014/main" id="{4772341C-3A62-40E3-A271-7A1F4DBF12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8" name="Right Triangle 27">
            <a:extLst>
              <a:ext uri="{FF2B5EF4-FFF2-40B4-BE49-F238E27FC236}">
                <a16:creationId xmlns:a16="http://schemas.microsoft.com/office/drawing/2014/main" id="{B60DFC2C-07E8-4CAB-9821-5B5C80DE58B7}"/>
              </a:ext>
            </a:extLst>
          </p:cNvPr>
          <p:cNvSpPr/>
          <p:nvPr userDrawn="1"/>
        </p:nvSpPr>
        <p:spPr>
          <a:xfrm rot="10800000">
            <a:off x="9386887" y="0"/>
            <a:ext cx="2805111" cy="2805111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A67C8A7-566E-6245-9CD3-9765B4FA66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800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24EB0EA-8635-6443-A050-B3327AB273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1D83DD92-09D1-EE43-BC80-83A0DE3D952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FBCBEE40-2AEA-476A-BD9F-C1BB81200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BB72AD8-123F-41E4-AA6D-10D40E0974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2800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6CA4F9AE-634E-4C58-9C8D-2B1FAD50BD7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AB83DAD6-F2E4-42E1-A4EE-C687615A3E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800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90EDD940-259E-4829-8E35-E18B2D80EE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9802C2BE-B1B2-4E86-82FE-3D0646E918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2800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18EBD071-CF30-4469-9F10-CB42C7916F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B3C1887B-BFF0-4968-B8C3-0F83E66524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2800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AA1582F3-1BA9-4358-BFE5-9640A017A06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1D0E6C05-C89A-499C-9021-D2FEEC605C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800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C9F730AD-E09A-4443-8E8F-D5734BB2D7E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28">
            <a:extLst>
              <a:ext uri="{FF2B5EF4-FFF2-40B4-BE49-F238E27FC236}">
                <a16:creationId xmlns:a16="http://schemas.microsoft.com/office/drawing/2014/main" id="{53D3D8CF-E605-4768-9603-689E5785C0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05400" y="1"/>
            <a:ext cx="6986601" cy="4853941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6601" h="4853941">
                <a:moveTo>
                  <a:pt x="0" y="0"/>
                </a:moveTo>
                <a:lnTo>
                  <a:pt x="5002307" y="0"/>
                </a:lnTo>
                <a:lnTo>
                  <a:pt x="6986601" y="1372945"/>
                </a:lnTo>
                <a:lnTo>
                  <a:pt x="6986601" y="4853941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0447E7-2370-40EB-9592-91B302D0C28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20A95C-EC8F-41D4-AF1A-5BAA8A39A130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8C5B83D-D9AA-4B70-AD78-85BFC25F5E85}"/>
              </a:ext>
            </a:extLst>
          </p:cNvPr>
          <p:cNvSpPr/>
          <p:nvPr userDrawn="1"/>
        </p:nvSpPr>
        <p:spPr>
          <a:xfrm rot="4191016">
            <a:off x="483992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4700A33-6DF5-4783-B61A-C9245483BD6A}"/>
              </a:ext>
            </a:extLst>
          </p:cNvPr>
          <p:cNvSpPr/>
          <p:nvPr userDrawn="1"/>
        </p:nvSpPr>
        <p:spPr>
          <a:xfrm flipH="1">
            <a:off x="9184940" y="3117122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4" name="Freeform: Shape 18">
            <a:extLst>
              <a:ext uri="{FF2B5EF4-FFF2-40B4-BE49-F238E27FC236}">
                <a16:creationId xmlns:a16="http://schemas.microsoft.com/office/drawing/2014/main" id="{3EA723EF-E362-4384-AE04-AB89112E4BC0}"/>
              </a:ext>
            </a:extLst>
          </p:cNvPr>
          <p:cNvSpPr/>
          <p:nvPr userDrawn="1"/>
        </p:nvSpPr>
        <p:spPr>
          <a:xfrm rot="4191016">
            <a:off x="10193741" y="-235643"/>
            <a:ext cx="2181945" cy="1879451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7023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82F7940D-EF79-4226-9BE8-F97579C66B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3" name="Freeform 58">
            <a:extLst>
              <a:ext uri="{FF2B5EF4-FFF2-40B4-BE49-F238E27FC236}">
                <a16:creationId xmlns:a16="http://schemas.microsoft.com/office/drawing/2014/main" id="{448B1C5E-0964-4F56-AE2F-8D78251DFB2E}"/>
              </a:ext>
            </a:extLst>
          </p:cNvPr>
          <p:cNvSpPr/>
          <p:nvPr userDrawn="1"/>
        </p:nvSpPr>
        <p:spPr>
          <a:xfrm flipH="1">
            <a:off x="6039992" y="4849927"/>
            <a:ext cx="5107358" cy="2019426"/>
          </a:xfrm>
          <a:custGeom>
            <a:avLst/>
            <a:gdLst>
              <a:gd name="connsiteX0" fmla="*/ 2885571 w 5107358"/>
              <a:gd name="connsiteY0" fmla="*/ 0 h 2019426"/>
              <a:gd name="connsiteX1" fmla="*/ 0 w 5107358"/>
              <a:gd name="connsiteY1" fmla="*/ 2019426 h 2019426"/>
              <a:gd name="connsiteX2" fmla="*/ 2277819 w 5107358"/>
              <a:gd name="connsiteY2" fmla="*/ 2019426 h 2019426"/>
              <a:gd name="connsiteX3" fmla="*/ 5107358 w 5107358"/>
              <a:gd name="connsiteY3" fmla="*/ 67456 h 201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07358" h="2019426">
                <a:moveTo>
                  <a:pt x="2885571" y="0"/>
                </a:moveTo>
                <a:lnTo>
                  <a:pt x="0" y="2019426"/>
                </a:lnTo>
                <a:lnTo>
                  <a:pt x="2277819" y="2019426"/>
                </a:lnTo>
                <a:lnTo>
                  <a:pt x="5107358" y="67456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8368AC7-44BD-41FB-9A75-B45905F2D0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2791443-6809-8D4F-9966-7CEE87C136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4FEA392-9CF1-B94F-BB23-E79DFB2BCC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CC8DEF04-C6F4-3344-B4ED-32374CA7DC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888" y="6426211"/>
            <a:ext cx="2396518" cy="22225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8883B2D1-073D-4B5D-8039-E523985156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51" name="Picture Placeholder 26">
            <a:extLst>
              <a:ext uri="{FF2B5EF4-FFF2-40B4-BE49-F238E27FC236}">
                <a16:creationId xmlns:a16="http://schemas.microsoft.com/office/drawing/2014/main" id="{5E8F5516-B38A-484B-A47A-802A26955F8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10622" y="0"/>
            <a:ext cx="5400119" cy="5460274"/>
          </a:xfrm>
          <a:custGeom>
            <a:avLst/>
            <a:gdLst>
              <a:gd name="connsiteX0" fmla="*/ 0 w 5400119"/>
              <a:gd name="connsiteY0" fmla="*/ 0 h 5461868"/>
              <a:gd name="connsiteX1" fmla="*/ 5400119 w 5400119"/>
              <a:gd name="connsiteY1" fmla="*/ 0 h 5461868"/>
              <a:gd name="connsiteX2" fmla="*/ 5400119 w 5400119"/>
              <a:gd name="connsiteY2" fmla="*/ 3577239 h 5461868"/>
              <a:gd name="connsiteX3" fmla="*/ 2699903 w 5400119"/>
              <a:gd name="connsiteY3" fmla="*/ 5461868 h 5461868"/>
              <a:gd name="connsiteX4" fmla="*/ 0 w 5400119"/>
              <a:gd name="connsiteY4" fmla="*/ 3570913 h 5461868"/>
              <a:gd name="connsiteX0" fmla="*/ 0 w 5400119"/>
              <a:gd name="connsiteY0" fmla="*/ 0 h 5394960"/>
              <a:gd name="connsiteX1" fmla="*/ 5400119 w 5400119"/>
              <a:gd name="connsiteY1" fmla="*/ 0 h 5394960"/>
              <a:gd name="connsiteX2" fmla="*/ 5400119 w 5400119"/>
              <a:gd name="connsiteY2" fmla="*/ 3577239 h 5394960"/>
              <a:gd name="connsiteX3" fmla="*/ 2705478 w 5400119"/>
              <a:gd name="connsiteY3" fmla="*/ 5394960 h 5394960"/>
              <a:gd name="connsiteX4" fmla="*/ 0 w 5400119"/>
              <a:gd name="connsiteY4" fmla="*/ 3570913 h 5394960"/>
              <a:gd name="connsiteX5" fmla="*/ 0 w 5400119"/>
              <a:gd name="connsiteY5" fmla="*/ 0 h 5394960"/>
              <a:gd name="connsiteX0" fmla="*/ 0 w 5400119"/>
              <a:gd name="connsiteY0" fmla="*/ 0 h 5463712"/>
              <a:gd name="connsiteX1" fmla="*/ 5400119 w 5400119"/>
              <a:gd name="connsiteY1" fmla="*/ 0 h 5463712"/>
              <a:gd name="connsiteX2" fmla="*/ 5400119 w 5400119"/>
              <a:gd name="connsiteY2" fmla="*/ 3577239 h 5463712"/>
              <a:gd name="connsiteX3" fmla="*/ 2702041 w 5400119"/>
              <a:gd name="connsiteY3" fmla="*/ 5463712 h 5463712"/>
              <a:gd name="connsiteX4" fmla="*/ 0 w 5400119"/>
              <a:gd name="connsiteY4" fmla="*/ 3570913 h 5463712"/>
              <a:gd name="connsiteX5" fmla="*/ 0 w 5400119"/>
              <a:gd name="connsiteY5" fmla="*/ 0 h 5463712"/>
              <a:gd name="connsiteX0" fmla="*/ 0 w 5400119"/>
              <a:gd name="connsiteY0" fmla="*/ 0 h 5460274"/>
              <a:gd name="connsiteX1" fmla="*/ 5400119 w 5400119"/>
              <a:gd name="connsiteY1" fmla="*/ 0 h 5460274"/>
              <a:gd name="connsiteX2" fmla="*/ 5400119 w 5400119"/>
              <a:gd name="connsiteY2" fmla="*/ 3577239 h 5460274"/>
              <a:gd name="connsiteX3" fmla="*/ 2691728 w 5400119"/>
              <a:gd name="connsiteY3" fmla="*/ 5460274 h 5460274"/>
              <a:gd name="connsiteX4" fmla="*/ 0 w 5400119"/>
              <a:gd name="connsiteY4" fmla="*/ 3570913 h 5460274"/>
              <a:gd name="connsiteX5" fmla="*/ 0 w 5400119"/>
              <a:gd name="connsiteY5" fmla="*/ 0 h 546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119" h="5460274">
                <a:moveTo>
                  <a:pt x="0" y="0"/>
                </a:moveTo>
                <a:lnTo>
                  <a:pt x="5400119" y="0"/>
                </a:lnTo>
                <a:lnTo>
                  <a:pt x="5400119" y="3577239"/>
                </a:lnTo>
                <a:lnTo>
                  <a:pt x="2691728" y="5460274"/>
                </a:lnTo>
                <a:lnTo>
                  <a:pt x="0" y="357091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52" name="Text Placeholder 18">
            <a:extLst>
              <a:ext uri="{FF2B5EF4-FFF2-40B4-BE49-F238E27FC236}">
                <a16:creationId xmlns:a16="http://schemas.microsoft.com/office/drawing/2014/main" id="{B2A32391-3567-484A-869F-44FEECB6DB3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7199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8651DA9B-1C09-43C3-914E-FB51BCEDD25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18">
            <a:extLst>
              <a:ext uri="{FF2B5EF4-FFF2-40B4-BE49-F238E27FC236}">
                <a16:creationId xmlns:a16="http://schemas.microsoft.com/office/drawing/2014/main" id="{4CB8E277-ACFD-43B0-A39F-BE7615C5525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7199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B2D19412-D286-490A-AF62-E31A0BF7D47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19">
            <a:extLst>
              <a:ext uri="{FF2B5EF4-FFF2-40B4-BE49-F238E27FC236}">
                <a16:creationId xmlns:a16="http://schemas.microsoft.com/office/drawing/2014/main" id="{DF0C502E-776E-4776-8238-1FE1C83A84C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57199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8EF4CACF-C03A-48C7-B822-754560D9C81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22">
            <a:extLst>
              <a:ext uri="{FF2B5EF4-FFF2-40B4-BE49-F238E27FC236}">
                <a16:creationId xmlns:a16="http://schemas.microsoft.com/office/drawing/2014/main" id="{674752F6-7BC7-4D47-8BD4-0F3C188802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57199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AF5D34F2-66E3-41B5-8AED-0BBF0E02971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23">
            <a:extLst>
              <a:ext uri="{FF2B5EF4-FFF2-40B4-BE49-F238E27FC236}">
                <a16:creationId xmlns:a16="http://schemas.microsoft.com/office/drawing/2014/main" id="{5E230149-BE4F-40D6-BD20-6F4E31060B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7199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0" rIns="0" bIns="0" anchor="ctr" anchorCtr="0"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6B3F4D62-F616-458E-A8DA-D16D04772D2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568908CF-F714-4E88-AF35-787D043DF0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2400" cy="27017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D89F2555-353E-491E-B9B0-CCB5DF8A35F4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6" name="Freeform 56">
            <a:extLst>
              <a:ext uri="{FF2B5EF4-FFF2-40B4-BE49-F238E27FC236}">
                <a16:creationId xmlns:a16="http://schemas.microsoft.com/office/drawing/2014/main" id="{1EA7358F-3E9C-44B1-AA6B-15D6F32DCB12}"/>
              </a:ext>
            </a:extLst>
          </p:cNvPr>
          <p:cNvSpPr/>
          <p:nvPr userDrawn="1"/>
        </p:nvSpPr>
        <p:spPr>
          <a:xfrm rot="4196304">
            <a:off x="8884361" y="4991240"/>
            <a:ext cx="2563893" cy="2048405"/>
          </a:xfrm>
          <a:custGeom>
            <a:avLst/>
            <a:gdLst>
              <a:gd name="connsiteX0" fmla="*/ 0 w 2264587"/>
              <a:gd name="connsiteY0" fmla="*/ 1545382 h 1809276"/>
              <a:gd name="connsiteX1" fmla="*/ 2264587 w 2264587"/>
              <a:gd name="connsiteY1" fmla="*/ 0 h 1809276"/>
              <a:gd name="connsiteX2" fmla="*/ 2132172 w 2264587"/>
              <a:gd name="connsiteY2" fmla="*/ 291012 h 1809276"/>
              <a:gd name="connsiteX3" fmla="*/ 2093985 w 2264587"/>
              <a:gd name="connsiteY3" fmla="*/ 395084 h 1809276"/>
              <a:gd name="connsiteX4" fmla="*/ 64114 w 2264587"/>
              <a:gd name="connsiteY4" fmla="*/ 1809276 h 1809276"/>
              <a:gd name="connsiteX5" fmla="*/ 53640 w 2264587"/>
              <a:gd name="connsiteY5" fmla="*/ 1768484 h 1809276"/>
              <a:gd name="connsiteX6" fmla="*/ 0 w 2264587"/>
              <a:gd name="connsiteY6" fmla="*/ 1545382 h 1809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4587" h="1809276">
                <a:moveTo>
                  <a:pt x="0" y="1545382"/>
                </a:moveTo>
                <a:lnTo>
                  <a:pt x="2264587" y="0"/>
                </a:lnTo>
                <a:lnTo>
                  <a:pt x="2132172" y="291012"/>
                </a:lnTo>
                <a:lnTo>
                  <a:pt x="2093985" y="395084"/>
                </a:lnTo>
                <a:lnTo>
                  <a:pt x="64114" y="1809276"/>
                </a:lnTo>
                <a:lnTo>
                  <a:pt x="53640" y="1768484"/>
                </a:lnTo>
                <a:cubicBezTo>
                  <a:pt x="30342" y="1675775"/>
                  <a:pt x="31426" y="1665603"/>
                  <a:pt x="0" y="1545382"/>
                </a:cubicBez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FA92E9B-21FE-4925-B596-859D4B505C3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3216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5530E5C5-C4EE-4F48-993F-0A393A6068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1" name="Freeform 20">
            <a:extLst>
              <a:ext uri="{FF2B5EF4-FFF2-40B4-BE49-F238E27FC236}">
                <a16:creationId xmlns:a16="http://schemas.microsoft.com/office/drawing/2014/main" id="{AD3AE23F-988B-564F-876F-C0158BED6563}"/>
              </a:ext>
            </a:extLst>
          </p:cNvPr>
          <p:cNvSpPr/>
          <p:nvPr/>
        </p:nvSpPr>
        <p:spPr>
          <a:xfrm>
            <a:off x="0" y="-15396"/>
            <a:ext cx="3119527" cy="2170074"/>
          </a:xfrm>
          <a:custGeom>
            <a:avLst/>
            <a:gdLst>
              <a:gd name="connsiteX0" fmla="*/ 0 w 3119527"/>
              <a:gd name="connsiteY0" fmla="*/ 0 h 2170074"/>
              <a:gd name="connsiteX1" fmla="*/ 3119527 w 3119527"/>
              <a:gd name="connsiteY1" fmla="*/ 1224 h 2170074"/>
              <a:gd name="connsiteX2" fmla="*/ 0 w 3119527"/>
              <a:gd name="connsiteY2" fmla="*/ 2170074 h 2170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19527" h="2170074">
                <a:moveTo>
                  <a:pt x="0" y="0"/>
                </a:moveTo>
                <a:lnTo>
                  <a:pt x="3119527" y="1224"/>
                </a:lnTo>
                <a:lnTo>
                  <a:pt x="0" y="2170074"/>
                </a:lnTo>
                <a:close/>
              </a:path>
            </a:pathLst>
          </a:custGeom>
          <a:gradFill>
            <a:gsLst>
              <a:gs pos="0">
                <a:srgbClr val="007199"/>
              </a:gs>
              <a:gs pos="100000">
                <a:srgbClr val="00AECF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64203167-F8D4-5045-BC57-8D5D46A2DF5D}"/>
              </a:ext>
            </a:extLst>
          </p:cNvPr>
          <p:cNvSpPr/>
          <p:nvPr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D1E0693-F664-448A-9D7A-93A03D6B7E90}"/>
              </a:ext>
            </a:extLst>
          </p:cNvPr>
          <p:cNvSpPr/>
          <p:nvPr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5BDCB9F-EF00-4740-A039-6C5374289B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48114" y="0"/>
            <a:ext cx="8543886" cy="5941720"/>
          </a:xfrm>
          <a:custGeom>
            <a:avLst/>
            <a:gdLst>
              <a:gd name="connsiteX0" fmla="*/ 0 w 8543886"/>
              <a:gd name="connsiteY0" fmla="*/ 0 h 5941720"/>
              <a:gd name="connsiteX1" fmla="*/ 8543886 w 8543886"/>
              <a:gd name="connsiteY1" fmla="*/ 0 h 5941720"/>
              <a:gd name="connsiteX2" fmla="*/ 8543886 w 8543886"/>
              <a:gd name="connsiteY2" fmla="*/ 5941720 h 594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886" h="5941720">
                <a:moveTo>
                  <a:pt x="0" y="0"/>
                </a:moveTo>
                <a:lnTo>
                  <a:pt x="8543886" y="0"/>
                </a:lnTo>
                <a:lnTo>
                  <a:pt x="8543886" y="594172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972997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B87D776C-79F6-D44E-9FFA-CA482D54AFB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CEF1787-A2E1-458A-BF2D-A3E6A5C67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560262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1</a:t>
            </a:r>
            <a:endParaRPr lang="en-GB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667D5848-2C00-434A-95F4-0BB2E59ACF12}"/>
              </a:ext>
            </a:extLst>
          </p:cNvPr>
          <p:cNvSpPr/>
          <p:nvPr userDrawn="1"/>
        </p:nvSpPr>
        <p:spPr>
          <a:xfrm>
            <a:off x="0" y="-9519"/>
            <a:ext cx="2249484" cy="1571852"/>
          </a:xfrm>
          <a:custGeom>
            <a:avLst/>
            <a:gdLst>
              <a:gd name="connsiteX0" fmla="*/ 2249484 w 2249484"/>
              <a:gd name="connsiteY0" fmla="*/ 0 h 1571852"/>
              <a:gd name="connsiteX1" fmla="*/ 0 w 2249484"/>
              <a:gd name="connsiteY1" fmla="*/ 1571852 h 1571852"/>
              <a:gd name="connsiteX2" fmla="*/ 0 w 2249484"/>
              <a:gd name="connsiteY2" fmla="*/ 5454 h 157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9484" h="1571852">
                <a:moveTo>
                  <a:pt x="2249484" y="0"/>
                </a:moveTo>
                <a:lnTo>
                  <a:pt x="0" y="1571852"/>
                </a:lnTo>
                <a:lnTo>
                  <a:pt x="0" y="5454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62000">
                <a:srgbClr val="073262"/>
              </a:gs>
            </a:gsLst>
            <a:lin ang="6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B97E7568-823C-4CBD-8378-DB4576EA10FD}"/>
              </a:ext>
            </a:extLst>
          </p:cNvPr>
          <p:cNvSpPr/>
          <p:nvPr userDrawn="1"/>
        </p:nvSpPr>
        <p:spPr>
          <a:xfrm>
            <a:off x="-11983" y="1997929"/>
            <a:ext cx="887194" cy="1242604"/>
          </a:xfrm>
          <a:custGeom>
            <a:avLst/>
            <a:gdLst>
              <a:gd name="connsiteX0" fmla="*/ 19050 w 1838325"/>
              <a:gd name="connsiteY0" fmla="*/ 0 h 1276350"/>
              <a:gd name="connsiteX1" fmla="*/ 1838325 w 1838325"/>
              <a:gd name="connsiteY1" fmla="*/ 1276350 h 1276350"/>
              <a:gd name="connsiteX2" fmla="*/ 0 w 1838325"/>
              <a:gd name="connsiteY2" fmla="*/ 1276350 h 1276350"/>
              <a:gd name="connsiteX3" fmla="*/ 19050 w 1838325"/>
              <a:gd name="connsiteY3" fmla="*/ 0 h 1276350"/>
              <a:gd name="connsiteX0" fmla="*/ 0 w 1819275"/>
              <a:gd name="connsiteY0" fmla="*/ 0 h 1276350"/>
              <a:gd name="connsiteX1" fmla="*/ 1819275 w 1819275"/>
              <a:gd name="connsiteY1" fmla="*/ 1276350 h 1276350"/>
              <a:gd name="connsiteX2" fmla="*/ 20790 w 1819275"/>
              <a:gd name="connsiteY2" fmla="*/ 1276350 h 1276350"/>
              <a:gd name="connsiteX3" fmla="*/ 0 w 1819275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9407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6562 w 1807892"/>
              <a:gd name="connsiteY2" fmla="*/ 1276350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1807892"/>
              <a:gd name="connsiteY0" fmla="*/ 0 h 1276350"/>
              <a:gd name="connsiteX1" fmla="*/ 1807892 w 1807892"/>
              <a:gd name="connsiteY1" fmla="*/ 1276350 h 1276350"/>
              <a:gd name="connsiteX2" fmla="*/ 3717 w 1807892"/>
              <a:gd name="connsiteY2" fmla="*/ 1274281 h 1276350"/>
              <a:gd name="connsiteX3" fmla="*/ 0 w 1807892"/>
              <a:gd name="connsiteY3" fmla="*/ 0 h 1276350"/>
              <a:gd name="connsiteX0" fmla="*/ 0 w 2046931"/>
              <a:gd name="connsiteY0" fmla="*/ 0 h 1274281"/>
              <a:gd name="connsiteX1" fmla="*/ 2046931 w 2046931"/>
              <a:gd name="connsiteY1" fmla="*/ 1268074 h 1274281"/>
              <a:gd name="connsiteX2" fmla="*/ 3717 w 2046931"/>
              <a:gd name="connsiteY2" fmla="*/ 1274281 h 1274281"/>
              <a:gd name="connsiteX3" fmla="*/ 0 w 2046931"/>
              <a:gd name="connsiteY3" fmla="*/ 0 h 1274281"/>
              <a:gd name="connsiteX0" fmla="*/ 0 w 2046931"/>
              <a:gd name="connsiteY0" fmla="*/ 0 h 1141859"/>
              <a:gd name="connsiteX1" fmla="*/ 2046931 w 2046931"/>
              <a:gd name="connsiteY1" fmla="*/ 1135652 h 1141859"/>
              <a:gd name="connsiteX2" fmla="*/ 3717 w 2046931"/>
              <a:gd name="connsiteY2" fmla="*/ 1141859 h 1141859"/>
              <a:gd name="connsiteX3" fmla="*/ 0 w 2046931"/>
              <a:gd name="connsiteY3" fmla="*/ 0 h 1141859"/>
              <a:gd name="connsiteX0" fmla="*/ 19318 w 2066249"/>
              <a:gd name="connsiteY0" fmla="*/ 0 h 1994325"/>
              <a:gd name="connsiteX1" fmla="*/ 2066249 w 2066249"/>
              <a:gd name="connsiteY1" fmla="*/ 1135652 h 1994325"/>
              <a:gd name="connsiteX2" fmla="*/ 269 w 2066249"/>
              <a:gd name="connsiteY2" fmla="*/ 1994325 h 1994325"/>
              <a:gd name="connsiteX3" fmla="*/ 19318 w 2066249"/>
              <a:gd name="connsiteY3" fmla="*/ 0 h 1994325"/>
              <a:gd name="connsiteX0" fmla="*/ 19318 w 2043483"/>
              <a:gd name="connsiteY0" fmla="*/ 0 h 1994325"/>
              <a:gd name="connsiteX1" fmla="*/ 2043483 w 2043483"/>
              <a:gd name="connsiteY1" fmla="*/ 1110823 h 1994325"/>
              <a:gd name="connsiteX2" fmla="*/ 269 w 2043483"/>
              <a:gd name="connsiteY2" fmla="*/ 1994325 h 1994325"/>
              <a:gd name="connsiteX3" fmla="*/ 19318 w 2043483"/>
              <a:gd name="connsiteY3" fmla="*/ 0 h 1994325"/>
              <a:gd name="connsiteX0" fmla="*/ 8129 w 2032294"/>
              <a:gd name="connsiteY0" fmla="*/ 0 h 2159852"/>
              <a:gd name="connsiteX1" fmla="*/ 2032294 w 2032294"/>
              <a:gd name="connsiteY1" fmla="*/ 1110823 h 2159852"/>
              <a:gd name="connsiteX2" fmla="*/ 463 w 2032294"/>
              <a:gd name="connsiteY2" fmla="*/ 2159852 h 2159852"/>
              <a:gd name="connsiteX3" fmla="*/ 8129 w 2032294"/>
              <a:gd name="connsiteY3" fmla="*/ 0 h 2159852"/>
              <a:gd name="connsiteX0" fmla="*/ 0 w 2104430"/>
              <a:gd name="connsiteY0" fmla="*/ 0 h 1843086"/>
              <a:gd name="connsiteX1" fmla="*/ 2104430 w 2104430"/>
              <a:gd name="connsiteY1" fmla="*/ 794057 h 1843086"/>
              <a:gd name="connsiteX2" fmla="*/ 72599 w 2104430"/>
              <a:gd name="connsiteY2" fmla="*/ 1843086 h 1843086"/>
              <a:gd name="connsiteX3" fmla="*/ 0 w 2104430"/>
              <a:gd name="connsiteY3" fmla="*/ 0 h 1843086"/>
              <a:gd name="connsiteX0" fmla="*/ 0 w 2044232"/>
              <a:gd name="connsiteY0" fmla="*/ 0 h 2152308"/>
              <a:gd name="connsiteX1" fmla="*/ 2044232 w 2044232"/>
              <a:gd name="connsiteY1" fmla="*/ 1103279 h 2152308"/>
              <a:gd name="connsiteX2" fmla="*/ 12401 w 2044232"/>
              <a:gd name="connsiteY2" fmla="*/ 2152308 h 2152308"/>
              <a:gd name="connsiteX3" fmla="*/ 0 w 2044232"/>
              <a:gd name="connsiteY3" fmla="*/ 0 h 215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4232" h="2152308">
                <a:moveTo>
                  <a:pt x="0" y="0"/>
                </a:moveTo>
                <a:lnTo>
                  <a:pt x="2044232" y="1103279"/>
                </a:lnTo>
                <a:lnTo>
                  <a:pt x="12401" y="2152308"/>
                </a:lnTo>
                <a:cubicBezTo>
                  <a:pt x="9265" y="1726858"/>
                  <a:pt x="3136" y="425450"/>
                  <a:pt x="0" y="0"/>
                </a:cubicBezTo>
                <a:close/>
              </a:path>
            </a:pathLst>
          </a:custGeom>
          <a:gradFill>
            <a:gsLst>
              <a:gs pos="9000">
                <a:srgbClr val="FF555F">
                  <a:alpha val="0"/>
                </a:srgbClr>
              </a:gs>
              <a:gs pos="100000">
                <a:srgbClr val="FF555F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F7F916-A56A-41E0-AB16-47964E93C7B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  <a:endParaRPr lang="en-GB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7A96C76-0097-4274-9DA2-D1F8E7937F33}"/>
              </a:ext>
            </a:extLst>
          </p:cNvPr>
          <p:cNvSpPr/>
          <p:nvPr userDrawn="1"/>
        </p:nvSpPr>
        <p:spPr>
          <a:xfrm rot="4191016">
            <a:off x="3401016" y="-500975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D4A7702-172F-4F6B-8FA4-0097A75DF785}"/>
              </a:ext>
            </a:extLst>
          </p:cNvPr>
          <p:cNvSpPr/>
          <p:nvPr userDrawn="1"/>
        </p:nvSpPr>
        <p:spPr>
          <a:xfrm flipH="1">
            <a:off x="9184940" y="3705794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2921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ED17A92-CC0D-4D6E-B587-CAF3EF5514C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3855" y="-11575"/>
            <a:ext cx="12217165" cy="6869575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7789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52101 w 12219741"/>
              <a:gd name="connsiteY0" fmla="*/ 0 h 6891750"/>
              <a:gd name="connsiteX1" fmla="*/ 12208430 w 12219741"/>
              <a:gd name="connsiteY1" fmla="*/ 4343205 h 6891750"/>
              <a:gd name="connsiteX2" fmla="*/ 12219741 w 12219741"/>
              <a:gd name="connsiteY2" fmla="*/ 6891750 h 6891750"/>
              <a:gd name="connsiteX3" fmla="*/ 4076826 w 12219741"/>
              <a:gd name="connsiteY3" fmla="*/ 6862656 h 6891750"/>
              <a:gd name="connsiteX4" fmla="*/ 1191 w 12219741"/>
              <a:gd name="connsiteY4" fmla="*/ 6850187 h 6891750"/>
              <a:gd name="connsiteX5" fmla="*/ 2576 w 12219741"/>
              <a:gd name="connsiteY5" fmla="*/ 1516187 h 6891750"/>
              <a:gd name="connsiteX6" fmla="*/ 2163885 w 12219741"/>
              <a:gd name="connsiteY6" fmla="*/ 19896 h 6891750"/>
              <a:gd name="connsiteX7" fmla="*/ 5952101 w 12219741"/>
              <a:gd name="connsiteY7" fmla="*/ 0 h 6891750"/>
              <a:gd name="connsiteX0" fmla="*/ 5961744 w 12229384"/>
              <a:gd name="connsiteY0" fmla="*/ 0 h 6891750"/>
              <a:gd name="connsiteX1" fmla="*/ 12218073 w 12229384"/>
              <a:gd name="connsiteY1" fmla="*/ 4343205 h 6891750"/>
              <a:gd name="connsiteX2" fmla="*/ 12229384 w 12229384"/>
              <a:gd name="connsiteY2" fmla="*/ 6891750 h 6891750"/>
              <a:gd name="connsiteX3" fmla="*/ 4086469 w 12229384"/>
              <a:gd name="connsiteY3" fmla="*/ 6862656 h 6891750"/>
              <a:gd name="connsiteX4" fmla="*/ 674 w 12229384"/>
              <a:gd name="connsiteY4" fmla="*/ 6860347 h 6891750"/>
              <a:gd name="connsiteX5" fmla="*/ 12219 w 12229384"/>
              <a:gd name="connsiteY5" fmla="*/ 1516187 h 6891750"/>
              <a:gd name="connsiteX6" fmla="*/ 2173528 w 12229384"/>
              <a:gd name="connsiteY6" fmla="*/ 19896 h 6891750"/>
              <a:gd name="connsiteX7" fmla="*/ 5961744 w 12229384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62656 h 6891750"/>
              <a:gd name="connsiteX4" fmla="*/ 8775 w 12217165"/>
              <a:gd name="connsiteY4" fmla="*/ 689082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8775 w 12217165"/>
              <a:gd name="connsiteY3" fmla="*/ 6890827 h 6891750"/>
              <a:gd name="connsiteX4" fmla="*/ 0 w 12217165"/>
              <a:gd name="connsiteY4" fmla="*/ 1516187 h 6891750"/>
              <a:gd name="connsiteX5" fmla="*/ 2161309 w 12217165"/>
              <a:gd name="connsiteY5" fmla="*/ 19896 h 6891750"/>
              <a:gd name="connsiteX6" fmla="*/ 5949525 w 12217165"/>
              <a:gd name="connsiteY6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17165" h="6891750">
                <a:moveTo>
                  <a:pt x="5949525" y="0"/>
                </a:moveTo>
                <a:lnTo>
                  <a:pt x="12205854" y="4343205"/>
                </a:lnTo>
                <a:cubicBezTo>
                  <a:pt x="12209624" y="5192720"/>
                  <a:pt x="12213395" y="6042235"/>
                  <a:pt x="12217165" y="6891750"/>
                </a:cubicBezTo>
                <a:lnTo>
                  <a:pt x="8775" y="6890827"/>
                </a:lnTo>
                <a:cubicBezTo>
                  <a:pt x="4157" y="5122063"/>
                  <a:pt x="4618" y="3284951"/>
                  <a:pt x="0" y="1516187"/>
                </a:cubicBezTo>
                <a:lnTo>
                  <a:pt x="2161309" y="19896"/>
                </a:lnTo>
                <a:lnTo>
                  <a:pt x="594952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4434872"/>
            <a:ext cx="6397626" cy="121859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800" y="2335488"/>
            <a:ext cx="6443999" cy="381000"/>
          </a:xfrm>
          <a:prstGeom prst="rect">
            <a:avLst/>
          </a:prstGeom>
        </p:spPr>
        <p:txBody>
          <a:bodyPr lIns="0" tIns="0" rIns="360000" b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5C7979F-B5FA-491A-9674-811E416D3A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999782"/>
            <a:ext cx="6454310" cy="990000"/>
          </a:xfrm>
        </p:spPr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eck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D4976B8-BC22-4FB2-BECC-2F92BC01DC7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800" y="6480000"/>
            <a:ext cx="2396518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AA631FB-D42E-4C3F-8885-696AF4E9B4B2}"/>
              </a:ext>
            </a:extLst>
          </p:cNvPr>
          <p:cNvSpPr/>
          <p:nvPr userDrawn="1"/>
        </p:nvSpPr>
        <p:spPr>
          <a:xfrm rot="4191016">
            <a:off x="5605571" y="-512551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2B9A1AF-97F2-4951-AD29-661ACC6A1482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BD8DDAA6-AFDC-48A0-BB6B-AC0E7FCC76A9}"/>
              </a:ext>
            </a:extLst>
          </p:cNvPr>
          <p:cNvSpPr/>
          <p:nvPr userDrawn="1"/>
        </p:nvSpPr>
        <p:spPr>
          <a:xfrm rot="17408984" flipH="1">
            <a:off x="-256184" y="-289497"/>
            <a:ext cx="2647720" cy="2280654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" name="Graphic 16">
            <a:extLst>
              <a:ext uri="{FF2B5EF4-FFF2-40B4-BE49-F238E27FC236}">
                <a16:creationId xmlns:a16="http://schemas.microsoft.com/office/drawing/2014/main" id="{81133FE4-A425-50B5-DE3A-195D9CB8E2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17887" y="78394"/>
            <a:ext cx="2715762" cy="122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0610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BD80A45-67E2-49BA-9E9D-E5B6DFBDBD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37363E61-7CF1-A94D-B206-5B49A9CC19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28966" y="141209"/>
            <a:ext cx="9663034" cy="6716791"/>
          </a:xfrm>
          <a:custGeom>
            <a:avLst/>
            <a:gdLst>
              <a:gd name="connsiteX0" fmla="*/ 9663034 w 9663034"/>
              <a:gd name="connsiteY0" fmla="*/ 0 h 6716791"/>
              <a:gd name="connsiteX1" fmla="*/ 9663034 w 9663034"/>
              <a:gd name="connsiteY1" fmla="*/ 4814575 h 6716791"/>
              <a:gd name="connsiteX2" fmla="*/ 6941731 w 9663034"/>
              <a:gd name="connsiteY2" fmla="*/ 6716791 h 6716791"/>
              <a:gd name="connsiteX3" fmla="*/ 0 w 9663034"/>
              <a:gd name="connsiteY3" fmla="*/ 6716791 h 6716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63034" h="6716791">
                <a:moveTo>
                  <a:pt x="9663034" y="0"/>
                </a:moveTo>
                <a:lnTo>
                  <a:pt x="9663034" y="4814575"/>
                </a:lnTo>
                <a:lnTo>
                  <a:pt x="6941731" y="6716791"/>
                </a:lnTo>
                <a:lnTo>
                  <a:pt x="0" y="67167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F7ED88-D0CF-434E-AF66-2A6C617A15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2645439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6A93C236-DDC8-AB42-B158-C3A75D57257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EB28338C-0118-4339-8B11-1628D97DA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1246559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2</a:t>
            </a:r>
            <a:endParaRPr lang="en-GB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842DA984-1D2F-2140-8491-B516D776CAC4}"/>
              </a:ext>
            </a:extLst>
          </p:cNvPr>
          <p:cNvSpPr/>
          <p:nvPr userDrawn="1"/>
        </p:nvSpPr>
        <p:spPr>
          <a:xfrm>
            <a:off x="0" y="4910678"/>
            <a:ext cx="4279900" cy="1947322"/>
          </a:xfrm>
          <a:custGeom>
            <a:avLst/>
            <a:gdLst>
              <a:gd name="connsiteX0" fmla="*/ 1467015 w 4279900"/>
              <a:gd name="connsiteY0" fmla="*/ 0 h 1947322"/>
              <a:gd name="connsiteX1" fmla="*/ 4279900 w 4279900"/>
              <a:gd name="connsiteY1" fmla="*/ 1947322 h 1947322"/>
              <a:gd name="connsiteX2" fmla="*/ 0 w 4279900"/>
              <a:gd name="connsiteY2" fmla="*/ 1947322 h 1947322"/>
              <a:gd name="connsiteX3" fmla="*/ 0 w 4279900"/>
              <a:gd name="connsiteY3" fmla="*/ 1020577 h 194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79900" h="1947322">
                <a:moveTo>
                  <a:pt x="1467015" y="0"/>
                </a:moveTo>
                <a:lnTo>
                  <a:pt x="4279900" y="1947322"/>
                </a:lnTo>
                <a:lnTo>
                  <a:pt x="0" y="1947322"/>
                </a:lnTo>
                <a:lnTo>
                  <a:pt x="0" y="102057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321975A5-5726-314A-B546-DA0044580E14}"/>
              </a:ext>
            </a:extLst>
          </p:cNvPr>
          <p:cNvSpPr/>
          <p:nvPr userDrawn="1"/>
        </p:nvSpPr>
        <p:spPr>
          <a:xfrm>
            <a:off x="1745857" y="5440650"/>
            <a:ext cx="2442751" cy="1417350"/>
          </a:xfrm>
          <a:custGeom>
            <a:avLst/>
            <a:gdLst>
              <a:gd name="connsiteX0" fmla="*/ 2031703 w 2442751"/>
              <a:gd name="connsiteY0" fmla="*/ 0 h 1417350"/>
              <a:gd name="connsiteX1" fmla="*/ 2442751 w 2442751"/>
              <a:gd name="connsiteY1" fmla="*/ 267995 h 1417350"/>
              <a:gd name="connsiteX2" fmla="*/ 783199 w 2442751"/>
              <a:gd name="connsiteY2" fmla="*/ 1417350 h 1417350"/>
              <a:gd name="connsiteX3" fmla="*/ 0 w 2442751"/>
              <a:gd name="connsiteY3" fmla="*/ 1417350 h 141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2751" h="1417350">
                <a:moveTo>
                  <a:pt x="2031703" y="0"/>
                </a:moveTo>
                <a:lnTo>
                  <a:pt x="2442751" y="267995"/>
                </a:lnTo>
                <a:lnTo>
                  <a:pt x="783199" y="1417350"/>
                </a:lnTo>
                <a:lnTo>
                  <a:pt x="0" y="141735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8D284C-7154-401F-9518-EB35035E34D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3 Copyright Genpact. All Rights Reserved.</a:t>
            </a:r>
            <a:endParaRPr lang="en-GB"/>
          </a:p>
        </p:txBody>
      </p:sp>
      <p:sp>
        <p:nvSpPr>
          <p:cNvPr id="30" name="Freeform 28">
            <a:extLst>
              <a:ext uri="{FF2B5EF4-FFF2-40B4-BE49-F238E27FC236}">
                <a16:creationId xmlns:a16="http://schemas.microsoft.com/office/drawing/2014/main" id="{447BDDC6-505D-4732-B677-284CBEC734D1}"/>
              </a:ext>
            </a:extLst>
          </p:cNvPr>
          <p:cNvSpPr/>
          <p:nvPr userDrawn="1"/>
        </p:nvSpPr>
        <p:spPr>
          <a:xfrm rot="10800000">
            <a:off x="9763185" y="-1"/>
            <a:ext cx="2428815" cy="1426848"/>
          </a:xfrm>
          <a:custGeom>
            <a:avLst/>
            <a:gdLst>
              <a:gd name="connsiteX0" fmla="*/ 991465 w 2428815"/>
              <a:gd name="connsiteY0" fmla="*/ 1426848 h 1426848"/>
              <a:gd name="connsiteX1" fmla="*/ 0 w 2428815"/>
              <a:gd name="connsiteY1" fmla="*/ 1426848 h 1426848"/>
              <a:gd name="connsiteX2" fmla="*/ 0 w 2428815"/>
              <a:gd name="connsiteY2" fmla="*/ 1283606 h 1426848"/>
              <a:gd name="connsiteX3" fmla="*/ 1845489 w 2428815"/>
              <a:gd name="connsiteY3" fmla="*/ 0 h 1426848"/>
              <a:gd name="connsiteX4" fmla="*/ 2428815 w 2428815"/>
              <a:gd name="connsiteY4" fmla="*/ 399380 h 1426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8815" h="1426848">
                <a:moveTo>
                  <a:pt x="991465" y="1426848"/>
                </a:moveTo>
                <a:lnTo>
                  <a:pt x="0" y="1426848"/>
                </a:lnTo>
                <a:lnTo>
                  <a:pt x="0" y="1283606"/>
                </a:lnTo>
                <a:lnTo>
                  <a:pt x="1845489" y="0"/>
                </a:lnTo>
                <a:lnTo>
                  <a:pt x="2428815" y="39938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9000">
                <a:schemeClr val="accent2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A5D467-3077-47DD-939A-561425A39FE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63928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692B022-D178-44D0-B9B8-E05E2EC2B4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AEBD811C-EEF2-4E64-B90F-61053E863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800" y="3627052"/>
            <a:ext cx="5986800" cy="579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escription goes here</a:t>
            </a:r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519455F8-E443-2E47-84AE-B5E3AB72DCED}"/>
              </a:ext>
            </a:extLst>
          </p:cNvPr>
          <p:cNvSpPr/>
          <p:nvPr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7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1CDB2D-7FA5-4BA7-AEA0-FE2551E49C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260570"/>
            <a:ext cx="5983255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Slide divider option-3</a:t>
            </a:r>
            <a:endParaRPr lang="en-GB"/>
          </a:p>
        </p:txBody>
      </p:sp>
      <p:sp>
        <p:nvSpPr>
          <p:cNvPr id="23" name="Freeform 18">
            <a:extLst>
              <a:ext uri="{FF2B5EF4-FFF2-40B4-BE49-F238E27FC236}">
                <a16:creationId xmlns:a16="http://schemas.microsoft.com/office/drawing/2014/main" id="{6F10E259-8957-4A25-A1FE-6233728BBD6A}"/>
              </a:ext>
            </a:extLst>
          </p:cNvPr>
          <p:cNvSpPr/>
          <p:nvPr userDrawn="1"/>
        </p:nvSpPr>
        <p:spPr>
          <a:xfrm>
            <a:off x="8285590" y="0"/>
            <a:ext cx="3906410" cy="4314825"/>
          </a:xfrm>
          <a:custGeom>
            <a:avLst/>
            <a:gdLst>
              <a:gd name="connsiteX0" fmla="*/ 0 w 3906410"/>
              <a:gd name="connsiteY0" fmla="*/ 0 h 4314825"/>
              <a:gd name="connsiteX1" fmla="*/ 3906410 w 3906410"/>
              <a:gd name="connsiteY1" fmla="*/ 0 h 4314825"/>
              <a:gd name="connsiteX2" fmla="*/ 3906410 w 3906410"/>
              <a:gd name="connsiteY2" fmla="*/ 3185599 h 4314825"/>
              <a:gd name="connsiteX3" fmla="*/ 3902170 w 3906410"/>
              <a:gd name="connsiteY3" fmla="*/ 3480792 h 4314825"/>
              <a:gd name="connsiteX4" fmla="*/ 3896886 w 3906410"/>
              <a:gd name="connsiteY4" fmla="*/ 4314825 h 4314825"/>
              <a:gd name="connsiteX5" fmla="*/ 1274336 w 3906410"/>
              <a:gd name="connsiteY5" fmla="*/ 2495550 h 4314825"/>
              <a:gd name="connsiteX6" fmla="*/ 2442736 w 3906410"/>
              <a:gd name="connsiteY6" fmla="*/ 1692275 h 431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6410" h="4314825">
                <a:moveTo>
                  <a:pt x="0" y="0"/>
                </a:moveTo>
                <a:lnTo>
                  <a:pt x="3906410" y="0"/>
                </a:lnTo>
                <a:lnTo>
                  <a:pt x="3906410" y="3185599"/>
                </a:lnTo>
                <a:lnTo>
                  <a:pt x="3902170" y="3480792"/>
                </a:lnTo>
                <a:cubicBezTo>
                  <a:pt x="3899069" y="3758803"/>
                  <a:pt x="3897085" y="4036814"/>
                  <a:pt x="3896886" y="4314825"/>
                </a:cubicBezTo>
                <a:lnTo>
                  <a:pt x="1274336" y="2495550"/>
                </a:lnTo>
                <a:lnTo>
                  <a:pt x="2442736" y="1692275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6E0280A-C911-477A-9CA7-94686E8EAF5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9E407E-3FDA-43A1-8AFD-D4C5DBD5A7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  <a:endParaRPr lang="en-GB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5C50561-D087-47A2-8E0E-B095F51A359E}"/>
              </a:ext>
            </a:extLst>
          </p:cNvPr>
          <p:cNvSpPr/>
          <p:nvPr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27166BE-C525-4B89-9317-E7513C3FD974}"/>
              </a:ext>
            </a:extLst>
          </p:cNvPr>
          <p:cNvSpPr/>
          <p:nvPr userDrawn="1"/>
        </p:nvSpPr>
        <p:spPr>
          <a:xfrm>
            <a:off x="9555684" y="2262186"/>
            <a:ext cx="2636371" cy="3683939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14964 w 2514964"/>
              <a:gd name="connsiteY0" fmla="*/ 0 h 3543300"/>
              <a:gd name="connsiteX1" fmla="*/ 0 w 2514964"/>
              <a:gd name="connsiteY1" fmla="*/ 1758723 h 3543300"/>
              <a:gd name="connsiteX2" fmla="*/ 2508614 w 2514964"/>
              <a:gd name="connsiteY2" fmla="*/ 3543300 h 3543300"/>
              <a:gd name="connsiteX3" fmla="*/ 2514964 w 2514964"/>
              <a:gd name="connsiteY3" fmla="*/ 0 h 3543300"/>
              <a:gd name="connsiteX0" fmla="*/ 2514964 w 2523277"/>
              <a:gd name="connsiteY0" fmla="*/ 0 h 3521420"/>
              <a:gd name="connsiteX1" fmla="*/ 0 w 2523277"/>
              <a:gd name="connsiteY1" fmla="*/ 1758723 h 3521420"/>
              <a:gd name="connsiteX2" fmla="*/ 2523201 w 2523277"/>
              <a:gd name="connsiteY2" fmla="*/ 3521420 h 3521420"/>
              <a:gd name="connsiteX3" fmla="*/ 2514964 w 2523277"/>
              <a:gd name="connsiteY3" fmla="*/ 0 h 3521420"/>
              <a:gd name="connsiteX0" fmla="*/ 2519523 w 2523330"/>
              <a:gd name="connsiteY0" fmla="*/ 0 h 3525979"/>
              <a:gd name="connsiteX1" fmla="*/ 0 w 2523330"/>
              <a:gd name="connsiteY1" fmla="*/ 1763282 h 3525979"/>
              <a:gd name="connsiteX2" fmla="*/ 2523201 w 2523330"/>
              <a:gd name="connsiteY2" fmla="*/ 3525979 h 3525979"/>
              <a:gd name="connsiteX3" fmla="*/ 2519523 w 2523330"/>
              <a:gd name="connsiteY3" fmla="*/ 0 h 352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3330" h="3525979">
                <a:moveTo>
                  <a:pt x="2519523" y="0"/>
                </a:moveTo>
                <a:lnTo>
                  <a:pt x="0" y="1763282"/>
                </a:lnTo>
                <a:lnTo>
                  <a:pt x="2523201" y="3525979"/>
                </a:lnTo>
                <a:cubicBezTo>
                  <a:pt x="2524259" y="2344879"/>
                  <a:pt x="2518465" y="1181100"/>
                  <a:pt x="2519523" y="0"/>
                </a:cubicBezTo>
                <a:close/>
              </a:path>
            </a:pathLst>
          </a:custGeom>
          <a:gradFill>
            <a:gsLst>
              <a:gs pos="20000">
                <a:schemeClr val="accent3"/>
              </a:gs>
              <a:gs pos="92000">
                <a:schemeClr val="accent1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5857FA2-03C8-4CE8-ABB9-5858207705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8134"/>
            <a:ext cx="935900" cy="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4201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C34AE55B-54F4-4171-BB75-625116036B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Freeform 23">
            <a:extLst>
              <a:ext uri="{FF2B5EF4-FFF2-40B4-BE49-F238E27FC236}">
                <a16:creationId xmlns:a16="http://schemas.microsoft.com/office/drawing/2014/main" id="{D80F8535-1B37-C640-9522-9FFE23DA8F4E}"/>
              </a:ext>
            </a:extLst>
          </p:cNvPr>
          <p:cNvSpPr/>
          <p:nvPr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E0BA6F1B-DB4E-4726-82C8-F69E131B99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74257" y="2540943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95833C23-279C-584E-A024-2A31807A9274}"/>
              </a:ext>
            </a:extLst>
          </p:cNvPr>
          <p:cNvSpPr/>
          <p:nvPr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6F00C93-F8EE-4584-A029-7488D3966167}"/>
              </a:ext>
            </a:extLst>
          </p:cNvPr>
          <p:cNvSpPr/>
          <p:nvPr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CECEFDB-7B1D-4D53-AFB2-2A3E81E50E9C}"/>
              </a:ext>
            </a:extLst>
          </p:cNvPr>
          <p:cNvSpPr/>
          <p:nvPr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997A980-7EC0-453E-ABF1-4DC83EB7CB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1239876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4</a:t>
            </a:r>
            <a:endParaRPr lang="en-GB"/>
          </a:p>
        </p:txBody>
      </p:sp>
      <p:sp>
        <p:nvSpPr>
          <p:cNvPr id="20" name="Freeform 23">
            <a:extLst>
              <a:ext uri="{FF2B5EF4-FFF2-40B4-BE49-F238E27FC236}">
                <a16:creationId xmlns:a16="http://schemas.microsoft.com/office/drawing/2014/main" id="{4AACB9C7-803C-4152-82CB-67927F253134}"/>
              </a:ext>
            </a:extLst>
          </p:cNvPr>
          <p:cNvSpPr/>
          <p:nvPr userDrawn="1"/>
        </p:nvSpPr>
        <p:spPr>
          <a:xfrm>
            <a:off x="-6225" y="4376941"/>
            <a:ext cx="6589331" cy="2481059"/>
          </a:xfrm>
          <a:custGeom>
            <a:avLst/>
            <a:gdLst>
              <a:gd name="connsiteX0" fmla="*/ 3012948 w 6589331"/>
              <a:gd name="connsiteY0" fmla="*/ 0 h 2481059"/>
              <a:gd name="connsiteX1" fmla="*/ 6589331 w 6589331"/>
              <a:gd name="connsiteY1" fmla="*/ 2471153 h 2481059"/>
              <a:gd name="connsiteX2" fmla="*/ 5715 w 6589331"/>
              <a:gd name="connsiteY2" fmla="*/ 2481059 h 2481059"/>
              <a:gd name="connsiteX3" fmla="*/ 0 w 6589331"/>
              <a:gd name="connsiteY3" fmla="*/ 2472071 h 2481059"/>
              <a:gd name="connsiteX4" fmla="*/ 0 w 6589331"/>
              <a:gd name="connsiteY4" fmla="*/ 2094159 h 2481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9331" h="2481059">
                <a:moveTo>
                  <a:pt x="3012948" y="0"/>
                </a:moveTo>
                <a:lnTo>
                  <a:pt x="6589331" y="2471153"/>
                </a:lnTo>
                <a:lnTo>
                  <a:pt x="5715" y="2481059"/>
                </a:lnTo>
                <a:lnTo>
                  <a:pt x="0" y="2472071"/>
                </a:lnTo>
                <a:lnTo>
                  <a:pt x="0" y="2094159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38F6177-211A-49BE-ABB9-97949A54E26E}"/>
              </a:ext>
            </a:extLst>
          </p:cNvPr>
          <p:cNvSpPr/>
          <p:nvPr userDrawn="1"/>
        </p:nvSpPr>
        <p:spPr>
          <a:xfrm>
            <a:off x="-511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D7EF89F-2526-415C-BBDF-59E49A45CE8B}"/>
              </a:ext>
            </a:extLst>
          </p:cNvPr>
          <p:cNvSpPr/>
          <p:nvPr userDrawn="1"/>
        </p:nvSpPr>
        <p:spPr>
          <a:xfrm flipH="1">
            <a:off x="7929175" y="3891879"/>
            <a:ext cx="4261361" cy="2964425"/>
          </a:xfrm>
          <a:custGeom>
            <a:avLst/>
            <a:gdLst>
              <a:gd name="connsiteX0" fmla="*/ 0 w 5520690"/>
              <a:gd name="connsiteY0" fmla="*/ 0 h 3840480"/>
              <a:gd name="connsiteX1" fmla="*/ 5520690 w 5520690"/>
              <a:gd name="connsiteY1" fmla="*/ 3840480 h 3840480"/>
              <a:gd name="connsiteX2" fmla="*/ 0 w 5520690"/>
              <a:gd name="connsiteY2" fmla="*/ 3840480 h 3840480"/>
              <a:gd name="connsiteX3" fmla="*/ 0 w 5520690"/>
              <a:gd name="connsiteY3" fmla="*/ 0 h 384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0690" h="3840480">
                <a:moveTo>
                  <a:pt x="0" y="0"/>
                </a:moveTo>
                <a:lnTo>
                  <a:pt x="5520690" y="3840480"/>
                </a:lnTo>
                <a:lnTo>
                  <a:pt x="0" y="384048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6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480B66D4-A5F5-624A-B6B3-939B1AD7D213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>
                  <a:alpha val="0"/>
                </a:schemeClr>
              </a:gs>
              <a:gs pos="92000">
                <a:schemeClr val="accent1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 21">
            <a:extLst>
              <a:ext uri="{FF2B5EF4-FFF2-40B4-BE49-F238E27FC236}">
                <a16:creationId xmlns:a16="http://schemas.microsoft.com/office/drawing/2014/main" id="{2168F68C-9AED-427E-85F9-E8C1393F181B}"/>
              </a:ext>
            </a:extLst>
          </p:cNvPr>
          <p:cNvSpPr/>
          <p:nvPr userDrawn="1"/>
        </p:nvSpPr>
        <p:spPr>
          <a:xfrm flipH="1">
            <a:off x="5606920" y="4371977"/>
            <a:ext cx="6580566" cy="2490989"/>
          </a:xfrm>
          <a:custGeom>
            <a:avLst/>
            <a:gdLst>
              <a:gd name="connsiteX0" fmla="*/ 3009863 w 6580566"/>
              <a:gd name="connsiteY0" fmla="*/ 0 h 2490989"/>
              <a:gd name="connsiteX1" fmla="*/ 0 w 6580566"/>
              <a:gd name="connsiteY1" fmla="*/ 2099561 h 2490989"/>
              <a:gd name="connsiteX2" fmla="*/ 0 w 6580566"/>
              <a:gd name="connsiteY2" fmla="*/ 2490989 h 2490989"/>
              <a:gd name="connsiteX3" fmla="*/ 5268197 w 6580566"/>
              <a:gd name="connsiteY3" fmla="*/ 2490989 h 2490989"/>
              <a:gd name="connsiteX4" fmla="*/ 6580566 w 6580566"/>
              <a:gd name="connsiteY4" fmla="*/ 2476120 h 2490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566" h="2490989">
                <a:moveTo>
                  <a:pt x="3009863" y="0"/>
                </a:moveTo>
                <a:lnTo>
                  <a:pt x="0" y="2099561"/>
                </a:lnTo>
                <a:lnTo>
                  <a:pt x="0" y="2490989"/>
                </a:lnTo>
                <a:lnTo>
                  <a:pt x="5268197" y="2490989"/>
                </a:lnTo>
                <a:lnTo>
                  <a:pt x="6580566" y="2476120"/>
                </a:lnTo>
                <a:close/>
              </a:path>
            </a:pathLst>
          </a:custGeom>
          <a:gradFill>
            <a:gsLst>
              <a:gs pos="28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Freeform 16">
            <a:extLst>
              <a:ext uri="{FF2B5EF4-FFF2-40B4-BE49-F238E27FC236}">
                <a16:creationId xmlns:a16="http://schemas.microsoft.com/office/drawing/2014/main" id="{B65377BA-7EEE-4F72-8CAE-57BDF7345B46}"/>
              </a:ext>
            </a:extLst>
          </p:cNvPr>
          <p:cNvSpPr/>
          <p:nvPr userDrawn="1"/>
        </p:nvSpPr>
        <p:spPr>
          <a:xfrm flipH="1">
            <a:off x="4047304" y="5413691"/>
            <a:ext cx="4092877" cy="1449275"/>
          </a:xfrm>
          <a:custGeom>
            <a:avLst/>
            <a:gdLst>
              <a:gd name="connsiteX0" fmla="*/ 2044180 w 4092877"/>
              <a:gd name="connsiteY0" fmla="*/ 0 h 1449275"/>
              <a:gd name="connsiteX1" fmla="*/ 0 w 4092877"/>
              <a:gd name="connsiteY1" fmla="*/ 1449275 h 1449275"/>
              <a:gd name="connsiteX2" fmla="*/ 4092877 w 4092877"/>
              <a:gd name="connsiteY2" fmla="*/ 1449275 h 1449275"/>
              <a:gd name="connsiteX3" fmla="*/ 3674121 w 4092877"/>
              <a:gd name="connsiteY3" fmla="*/ 1155304 h 1449275"/>
              <a:gd name="connsiteX4" fmla="*/ 2044180 w 4092877"/>
              <a:gd name="connsiteY4" fmla="*/ 0 h 14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2877" h="1449275">
                <a:moveTo>
                  <a:pt x="2044180" y="0"/>
                </a:moveTo>
                <a:lnTo>
                  <a:pt x="0" y="1449275"/>
                </a:lnTo>
                <a:lnTo>
                  <a:pt x="4092877" y="1449275"/>
                </a:lnTo>
                <a:lnTo>
                  <a:pt x="3674121" y="1155304"/>
                </a:lnTo>
                <a:cubicBezTo>
                  <a:pt x="3130807" y="770202"/>
                  <a:pt x="2569124" y="363906"/>
                  <a:pt x="204418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35000"/>
                </a:schemeClr>
              </a:gs>
              <a:gs pos="50000">
                <a:schemeClr val="accent2"/>
              </a:gs>
              <a:gs pos="98000">
                <a:schemeClr val="accent2">
                  <a:alpha val="3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A764AC80-FAC7-4BD1-B73A-91406AC014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8134"/>
            <a:ext cx="935900" cy="270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A45E612-A8E3-4C77-9438-EC1BFADA331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3 Copyright Genpact. All Rights Reserved.</a:t>
            </a:r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079725B-1CBE-4221-997B-07640A54E0D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7901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5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A6CD9C7-E2A9-434A-9A8E-298812C6A1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5" name="Freeform 24">
            <a:extLst>
              <a:ext uri="{FF2B5EF4-FFF2-40B4-BE49-F238E27FC236}">
                <a16:creationId xmlns:a16="http://schemas.microsoft.com/office/drawing/2014/main" id="{5B049D90-7C0C-2543-A4A6-22DE2C411CA6}"/>
              </a:ext>
            </a:extLst>
          </p:cNvPr>
          <p:cNvSpPr/>
          <p:nvPr/>
        </p:nvSpPr>
        <p:spPr>
          <a:xfrm>
            <a:off x="0" y="4900507"/>
            <a:ext cx="4262572" cy="1957493"/>
          </a:xfrm>
          <a:custGeom>
            <a:avLst/>
            <a:gdLst>
              <a:gd name="connsiteX0" fmla="*/ 1462275 w 4262572"/>
              <a:gd name="connsiteY0" fmla="*/ 0 h 1957493"/>
              <a:gd name="connsiteX1" fmla="*/ 4262572 w 4262572"/>
              <a:gd name="connsiteY1" fmla="*/ 1957493 h 1957493"/>
              <a:gd name="connsiteX2" fmla="*/ 0 w 4262572"/>
              <a:gd name="connsiteY2" fmla="*/ 1957493 h 1957493"/>
              <a:gd name="connsiteX3" fmla="*/ 0 w 4262572"/>
              <a:gd name="connsiteY3" fmla="*/ 1021999 h 195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62572" h="1957493">
                <a:moveTo>
                  <a:pt x="1462275" y="0"/>
                </a:moveTo>
                <a:lnTo>
                  <a:pt x="4262572" y="1957493"/>
                </a:lnTo>
                <a:lnTo>
                  <a:pt x="0" y="1957493"/>
                </a:lnTo>
                <a:lnTo>
                  <a:pt x="0" y="1021999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29773AE-3026-4994-9E24-119377549C30}"/>
              </a:ext>
            </a:extLst>
          </p:cNvPr>
          <p:cNvSpPr/>
          <p:nvPr/>
        </p:nvSpPr>
        <p:spPr>
          <a:xfrm>
            <a:off x="1739901" y="5448182"/>
            <a:ext cx="4065894" cy="1412994"/>
          </a:xfrm>
          <a:custGeom>
            <a:avLst/>
            <a:gdLst>
              <a:gd name="connsiteX0" fmla="*/ 0 w 4467225"/>
              <a:gd name="connsiteY0" fmla="*/ 1533525 h 1562100"/>
              <a:gd name="connsiteX1" fmla="*/ 2228850 w 4467225"/>
              <a:gd name="connsiteY1" fmla="*/ 0 h 1562100"/>
              <a:gd name="connsiteX2" fmla="*/ 4467225 w 4467225"/>
              <a:gd name="connsiteY2" fmla="*/ 1562100 h 1562100"/>
              <a:gd name="connsiteX3" fmla="*/ 0 w 4467225"/>
              <a:gd name="connsiteY3" fmla="*/ 1533525 h 1562100"/>
              <a:gd name="connsiteX0" fmla="*/ 0 w 4505325"/>
              <a:gd name="connsiteY0" fmla="*/ 1552575 h 1562100"/>
              <a:gd name="connsiteX1" fmla="*/ 2266950 w 4505325"/>
              <a:gd name="connsiteY1" fmla="*/ 0 h 1562100"/>
              <a:gd name="connsiteX2" fmla="*/ 4505325 w 4505325"/>
              <a:gd name="connsiteY2" fmla="*/ 1562100 h 1562100"/>
              <a:gd name="connsiteX3" fmla="*/ 0 w 4505325"/>
              <a:gd name="connsiteY3" fmla="*/ 1552575 h 1562100"/>
              <a:gd name="connsiteX0" fmla="*/ 0 w 4514850"/>
              <a:gd name="connsiteY0" fmla="*/ 1562100 h 1562100"/>
              <a:gd name="connsiteX1" fmla="*/ 2276475 w 4514850"/>
              <a:gd name="connsiteY1" fmla="*/ 0 h 1562100"/>
              <a:gd name="connsiteX2" fmla="*/ 4514850 w 4514850"/>
              <a:gd name="connsiteY2" fmla="*/ 1562100 h 1562100"/>
              <a:gd name="connsiteX3" fmla="*/ 0 w 4514850"/>
              <a:gd name="connsiteY3" fmla="*/ 1562100 h 1562100"/>
              <a:gd name="connsiteX0" fmla="*/ 0 w 4514850"/>
              <a:gd name="connsiteY0" fmla="*/ 1410144 h 1410144"/>
              <a:gd name="connsiteX1" fmla="*/ 2265873 w 4514850"/>
              <a:gd name="connsiteY1" fmla="*/ 0 h 1410144"/>
              <a:gd name="connsiteX2" fmla="*/ 4514850 w 4514850"/>
              <a:gd name="connsiteY2" fmla="*/ 1410144 h 1410144"/>
              <a:gd name="connsiteX3" fmla="*/ 0 w 4514850"/>
              <a:gd name="connsiteY3" fmla="*/ 1410144 h 1410144"/>
              <a:gd name="connsiteX0" fmla="*/ 0 w 4514850"/>
              <a:gd name="connsiteY0" fmla="*/ 1569168 h 1569168"/>
              <a:gd name="connsiteX1" fmla="*/ 2265873 w 4514850"/>
              <a:gd name="connsiteY1" fmla="*/ 0 h 1569168"/>
              <a:gd name="connsiteX2" fmla="*/ 4514850 w 4514850"/>
              <a:gd name="connsiteY2" fmla="*/ 1569168 h 1569168"/>
              <a:gd name="connsiteX3" fmla="*/ 0 w 4514850"/>
              <a:gd name="connsiteY3" fmla="*/ 1569168 h 1569168"/>
              <a:gd name="connsiteX0" fmla="*/ 0 w 4525452"/>
              <a:gd name="connsiteY0" fmla="*/ 1569168 h 1572702"/>
              <a:gd name="connsiteX1" fmla="*/ 2265873 w 4525452"/>
              <a:gd name="connsiteY1" fmla="*/ 0 h 1572702"/>
              <a:gd name="connsiteX2" fmla="*/ 4525452 w 4525452"/>
              <a:gd name="connsiteY2" fmla="*/ 1572702 h 1572702"/>
              <a:gd name="connsiteX3" fmla="*/ 0 w 4525452"/>
              <a:gd name="connsiteY3" fmla="*/ 1569168 h 1572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5452" h="1572702">
                <a:moveTo>
                  <a:pt x="0" y="1569168"/>
                </a:moveTo>
                <a:lnTo>
                  <a:pt x="2265873" y="0"/>
                </a:lnTo>
                <a:lnTo>
                  <a:pt x="4525452" y="1572702"/>
                </a:lnTo>
                <a:lnTo>
                  <a:pt x="0" y="1569168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1998EB54-0F58-441A-8144-1161535363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4257" y="3702319"/>
            <a:ext cx="6843487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Description goes here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BE0095B5-53D4-9C4C-8876-BE836797DEE0}"/>
              </a:ext>
            </a:extLst>
          </p:cNvPr>
          <p:cNvSpPr/>
          <p:nvPr/>
        </p:nvSpPr>
        <p:spPr>
          <a:xfrm rot="10800000">
            <a:off x="9083364" y="0"/>
            <a:ext cx="3108635" cy="1425182"/>
          </a:xfrm>
          <a:custGeom>
            <a:avLst/>
            <a:gdLst>
              <a:gd name="connsiteX0" fmla="*/ 3108635 w 3108635"/>
              <a:gd name="connsiteY0" fmla="*/ 1425182 h 1425182"/>
              <a:gd name="connsiteX1" fmla="*/ 0 w 3108635"/>
              <a:gd name="connsiteY1" fmla="*/ 1425182 h 1425182"/>
              <a:gd name="connsiteX2" fmla="*/ 0 w 3108635"/>
              <a:gd name="connsiteY2" fmla="*/ 730957 h 1425182"/>
              <a:gd name="connsiteX3" fmla="*/ 1084862 w 3108635"/>
              <a:gd name="connsiteY3" fmla="*/ 0 h 142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8635" h="1425182">
                <a:moveTo>
                  <a:pt x="3108635" y="1425182"/>
                </a:moveTo>
                <a:lnTo>
                  <a:pt x="0" y="1425182"/>
                </a:lnTo>
                <a:lnTo>
                  <a:pt x="0" y="730957"/>
                </a:lnTo>
                <a:lnTo>
                  <a:pt x="1084862" y="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31000">
                <a:schemeClr val="accent2"/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5DEA3EB-7023-3642-83F2-FD716952AC57}"/>
              </a:ext>
            </a:extLst>
          </p:cNvPr>
          <p:cNvSpPr/>
          <p:nvPr/>
        </p:nvSpPr>
        <p:spPr>
          <a:xfrm rot="10800000">
            <a:off x="7899082" y="-1"/>
            <a:ext cx="2943008" cy="1021432"/>
          </a:xfrm>
          <a:custGeom>
            <a:avLst/>
            <a:gdLst>
              <a:gd name="connsiteX0" fmla="*/ 2943008 w 2943008"/>
              <a:gd name="connsiteY0" fmla="*/ 1021432 h 1021432"/>
              <a:gd name="connsiteX1" fmla="*/ 0 w 2943008"/>
              <a:gd name="connsiteY1" fmla="*/ 1021432 h 1021432"/>
              <a:gd name="connsiteX2" fmla="*/ 1473230 w 2943008"/>
              <a:gd name="connsiteY2" fmla="*/ 0 h 102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43008" h="1021432">
                <a:moveTo>
                  <a:pt x="2943008" y="1021432"/>
                </a:moveTo>
                <a:lnTo>
                  <a:pt x="0" y="1021432"/>
                </a:lnTo>
                <a:lnTo>
                  <a:pt x="1473230" y="0"/>
                </a:lnTo>
                <a:close/>
              </a:path>
            </a:pathLst>
          </a:custGeom>
          <a:gradFill flip="none" rotWithShape="1">
            <a:gsLst>
              <a:gs pos="79000">
                <a:schemeClr val="accent1"/>
              </a:gs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solidFill>
                <a:schemeClr val="tx2"/>
              </a:solidFill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26A78AB9-EAF7-7746-895A-843233C622E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612FCD5A-D75B-4B19-A0CD-3722DB639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 algn="ctr"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/>
              <a:t>Slide divider option-5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58EE7C1-72A7-49D2-9408-6D8A3E8979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3 Copyright Genpact. All Rights Reserved.</a:t>
            </a:r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E8E6F93-A670-4F14-B015-78190A57D001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1362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6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90A8770-33B0-4F90-A388-5B3728ACB9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0CC2C6EF-776C-43CF-B77C-3AD42BC255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4143" y="3702319"/>
            <a:ext cx="6843600" cy="381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Description goes her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noProof="0"/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507FF555-C362-BC4D-A8EA-21A034747FD9}"/>
              </a:ext>
            </a:extLst>
          </p:cNvPr>
          <p:cNvSpPr/>
          <p:nvPr/>
        </p:nvSpPr>
        <p:spPr>
          <a:xfrm rot="18300963" flipH="1">
            <a:off x="8503132" y="-1165064"/>
            <a:ext cx="495116" cy="4554815"/>
          </a:xfrm>
          <a:custGeom>
            <a:avLst/>
            <a:gdLst>
              <a:gd name="connsiteX0" fmla="*/ 484981 w 495116"/>
              <a:gd name="connsiteY0" fmla="*/ 0 h 4554815"/>
              <a:gd name="connsiteX1" fmla="*/ 43362 w 495116"/>
              <a:gd name="connsiteY1" fmla="*/ 630320 h 4554815"/>
              <a:gd name="connsiteX2" fmla="*/ 0 w 495116"/>
              <a:gd name="connsiteY2" fmla="*/ 4554815 h 4554815"/>
              <a:gd name="connsiteX3" fmla="*/ 484123 w 495116"/>
              <a:gd name="connsiteY3" fmla="*/ 4385194 h 4554815"/>
              <a:gd name="connsiteX4" fmla="*/ 495116 w 495116"/>
              <a:gd name="connsiteY4" fmla="*/ 3771414 h 4554815"/>
              <a:gd name="connsiteX5" fmla="*/ 466021 w 495116"/>
              <a:gd name="connsiteY5" fmla="*/ 3782827 h 4554815"/>
              <a:gd name="connsiteX6" fmla="*/ 482994 w 495116"/>
              <a:gd name="connsiteY6" fmla="*/ 370448 h 4554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116" h="4554815">
                <a:moveTo>
                  <a:pt x="484981" y="0"/>
                </a:moveTo>
                <a:lnTo>
                  <a:pt x="43362" y="630320"/>
                </a:lnTo>
                <a:lnTo>
                  <a:pt x="0" y="4554815"/>
                </a:lnTo>
                <a:lnTo>
                  <a:pt x="484123" y="4385194"/>
                </a:lnTo>
                <a:lnTo>
                  <a:pt x="495116" y="3771414"/>
                </a:lnTo>
                <a:lnTo>
                  <a:pt x="466021" y="3782827"/>
                </a:lnTo>
                <a:cubicBezTo>
                  <a:pt x="466280" y="2865719"/>
                  <a:pt x="476637" y="1476643"/>
                  <a:pt x="482994" y="370448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BA5EF075-83E7-774F-B885-37C07770ABA8}"/>
              </a:ext>
            </a:extLst>
          </p:cNvPr>
          <p:cNvSpPr/>
          <p:nvPr/>
        </p:nvSpPr>
        <p:spPr>
          <a:xfrm rot="18300963" flipH="1">
            <a:off x="4607641" y="3724836"/>
            <a:ext cx="1098431" cy="4553250"/>
          </a:xfrm>
          <a:custGeom>
            <a:avLst/>
            <a:gdLst>
              <a:gd name="connsiteX0" fmla="*/ 7678 w 1098431"/>
              <a:gd name="connsiteY0" fmla="*/ 354047 h 4553250"/>
              <a:gd name="connsiteX1" fmla="*/ 0 w 1098431"/>
              <a:gd name="connsiteY1" fmla="*/ 4553250 h 4553250"/>
              <a:gd name="connsiteX2" fmla="*/ 1098431 w 1098431"/>
              <a:gd name="connsiteY2" fmla="*/ 2985463 h 4553250"/>
              <a:gd name="connsiteX3" fmla="*/ 1098431 w 1098431"/>
              <a:gd name="connsiteY3" fmla="*/ 0 h 4553250"/>
              <a:gd name="connsiteX4" fmla="*/ 7678 w 1098431"/>
              <a:gd name="connsiteY4" fmla="*/ 354047 h 455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431" h="4553250">
                <a:moveTo>
                  <a:pt x="7678" y="354047"/>
                </a:moveTo>
                <a:lnTo>
                  <a:pt x="0" y="4553250"/>
                </a:lnTo>
                <a:lnTo>
                  <a:pt x="1098431" y="2985463"/>
                </a:lnTo>
                <a:lnTo>
                  <a:pt x="1098431" y="0"/>
                </a:lnTo>
                <a:cubicBezTo>
                  <a:pt x="734631" y="127326"/>
                  <a:pt x="371478" y="226721"/>
                  <a:pt x="7678" y="35404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0FDB5CF5-44C1-1D4A-A2B9-37C0F30F6278}"/>
              </a:ext>
            </a:extLst>
          </p:cNvPr>
          <p:cNvSpPr/>
          <p:nvPr/>
        </p:nvSpPr>
        <p:spPr>
          <a:xfrm rot="18300963" flipH="1">
            <a:off x="4473394" y="5471677"/>
            <a:ext cx="227425" cy="1880095"/>
          </a:xfrm>
          <a:custGeom>
            <a:avLst/>
            <a:gdLst>
              <a:gd name="connsiteX0" fmla="*/ 0 w 227425"/>
              <a:gd name="connsiteY0" fmla="*/ 96845 h 1880095"/>
              <a:gd name="connsiteX1" fmla="*/ 0 w 227425"/>
              <a:gd name="connsiteY1" fmla="*/ 1880095 h 1880095"/>
              <a:gd name="connsiteX2" fmla="*/ 224453 w 227425"/>
              <a:gd name="connsiteY2" fmla="*/ 1559734 h 1880095"/>
              <a:gd name="connsiteX3" fmla="*/ 225257 w 227425"/>
              <a:gd name="connsiteY3" fmla="*/ 1214869 h 1880095"/>
              <a:gd name="connsiteX4" fmla="*/ 227425 w 227425"/>
              <a:gd name="connsiteY4" fmla="*/ 0 h 1880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425" h="1880095">
                <a:moveTo>
                  <a:pt x="0" y="96845"/>
                </a:moveTo>
                <a:lnTo>
                  <a:pt x="0" y="1880095"/>
                </a:lnTo>
                <a:lnTo>
                  <a:pt x="224453" y="1559734"/>
                </a:lnTo>
                <a:lnTo>
                  <a:pt x="225257" y="1214869"/>
                </a:lnTo>
                <a:cubicBezTo>
                  <a:pt x="225980" y="809913"/>
                  <a:pt x="226237" y="390570"/>
                  <a:pt x="22742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35" name="Freeform 34">
            <a:extLst>
              <a:ext uri="{FF2B5EF4-FFF2-40B4-BE49-F238E27FC236}">
                <a16:creationId xmlns:a16="http://schemas.microsoft.com/office/drawing/2014/main" id="{4D8B62A9-4796-7441-BB51-FE9050BD3210}"/>
              </a:ext>
            </a:extLst>
          </p:cNvPr>
          <p:cNvSpPr/>
          <p:nvPr/>
        </p:nvSpPr>
        <p:spPr>
          <a:xfrm rot="18300963" flipH="1">
            <a:off x="6797834" y="-1592612"/>
            <a:ext cx="1110167" cy="5340305"/>
          </a:xfrm>
          <a:custGeom>
            <a:avLst/>
            <a:gdLst>
              <a:gd name="connsiteX0" fmla="*/ 1110167 w 1110167"/>
              <a:gd name="connsiteY0" fmla="*/ 0 h 5340305"/>
              <a:gd name="connsiteX1" fmla="*/ 18977 w 1110167"/>
              <a:gd name="connsiteY1" fmla="*/ 1557452 h 5340305"/>
              <a:gd name="connsiteX2" fmla="*/ 18186 w 1110167"/>
              <a:gd name="connsiteY2" fmla="*/ 1710683 h 5340305"/>
              <a:gd name="connsiteX3" fmla="*/ 0 w 1110167"/>
              <a:gd name="connsiteY3" fmla="*/ 5340305 h 5340305"/>
              <a:gd name="connsiteX4" fmla="*/ 1096070 w 1110167"/>
              <a:gd name="connsiteY4" fmla="*/ 4910334 h 5340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0167" h="5340305">
                <a:moveTo>
                  <a:pt x="1110167" y="0"/>
                </a:moveTo>
                <a:lnTo>
                  <a:pt x="18977" y="1557452"/>
                </a:lnTo>
                <a:lnTo>
                  <a:pt x="18186" y="1710683"/>
                </a:lnTo>
                <a:cubicBezTo>
                  <a:pt x="12041" y="2846813"/>
                  <a:pt x="276" y="4362057"/>
                  <a:pt x="0" y="5340305"/>
                </a:cubicBezTo>
                <a:lnTo>
                  <a:pt x="1096070" y="4910334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E2CC5BE5-129B-7847-BDB4-75DA3D4EA79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970D0B5-60C7-43B7-9391-F41A7E9C2C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74257" y="2401252"/>
            <a:ext cx="6843486" cy="970378"/>
          </a:xfrm>
        </p:spPr>
        <p:txBody>
          <a:bodyPr vert="horz" lIns="0" tIns="45720" rIns="91440" bIns="45720" rtlCol="0" anchor="b">
            <a:noAutofit/>
          </a:bodyPr>
          <a:lstStyle>
            <a:lvl1pPr>
              <a:defRPr lang="en-GB" sz="4000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600"/>
              </a:spcBef>
            </a:pPr>
            <a:r>
              <a:rPr lang="en-US" noProof="0"/>
              <a:t>Slide divider option-6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6AB6562-E57C-4D04-BCF6-D759D38486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51440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Slid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1435E1C6-30B7-4241-944C-C81382685F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B91F8A20-C584-48B2-B8D0-5A7792E52E41}"/>
              </a:ext>
            </a:extLst>
          </p:cNvPr>
          <p:cNvSpPr/>
          <p:nvPr userDrawn="1"/>
        </p:nvSpPr>
        <p:spPr>
          <a:xfrm flipV="1">
            <a:off x="6766830" y="1"/>
            <a:ext cx="5425171" cy="3771437"/>
          </a:xfrm>
          <a:custGeom>
            <a:avLst/>
            <a:gdLst>
              <a:gd name="connsiteX0" fmla="*/ 0 w 5425171"/>
              <a:gd name="connsiteY0" fmla="*/ 3771437 h 3771437"/>
              <a:gd name="connsiteX1" fmla="*/ 5425171 w 5425171"/>
              <a:gd name="connsiteY1" fmla="*/ 3771437 h 3771437"/>
              <a:gd name="connsiteX2" fmla="*/ 5425171 w 5425171"/>
              <a:gd name="connsiteY2" fmla="*/ 0 h 3771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25171" h="3771437">
                <a:moveTo>
                  <a:pt x="0" y="3771437"/>
                </a:moveTo>
                <a:lnTo>
                  <a:pt x="5425171" y="3771437"/>
                </a:lnTo>
                <a:lnTo>
                  <a:pt x="5425171" y="0"/>
                </a:lnTo>
                <a:close/>
              </a:path>
            </a:pathLst>
          </a:custGeom>
          <a:solidFill>
            <a:schemeClr val="accent1"/>
          </a:solidFill>
          <a:ln w="15691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BC369F7-26ED-4748-B416-400F4315F894}"/>
              </a:ext>
            </a:extLst>
          </p:cNvPr>
          <p:cNvSpPr/>
          <p:nvPr userDrawn="1"/>
        </p:nvSpPr>
        <p:spPr>
          <a:xfrm rot="18300963" flipH="1">
            <a:off x="7568200" y="-802590"/>
            <a:ext cx="418585" cy="2961934"/>
          </a:xfrm>
          <a:custGeom>
            <a:avLst/>
            <a:gdLst>
              <a:gd name="connsiteX0" fmla="*/ 418585 w 418585"/>
              <a:gd name="connsiteY0" fmla="*/ 0 h 2961934"/>
              <a:gd name="connsiteX1" fmla="*/ 0 w 418585"/>
              <a:gd name="connsiteY1" fmla="*/ 597446 h 2961934"/>
              <a:gd name="connsiteX2" fmla="*/ 0 w 418585"/>
              <a:gd name="connsiteY2" fmla="*/ 2961934 h 2961934"/>
              <a:gd name="connsiteX3" fmla="*/ 418585 w 418585"/>
              <a:gd name="connsiteY3" fmla="*/ 2808101 h 296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585" h="2961934">
                <a:moveTo>
                  <a:pt x="418585" y="0"/>
                </a:moveTo>
                <a:lnTo>
                  <a:pt x="0" y="597446"/>
                </a:lnTo>
                <a:lnTo>
                  <a:pt x="0" y="2961934"/>
                </a:lnTo>
                <a:lnTo>
                  <a:pt x="418585" y="2808101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5868000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tabLst>
                <a:tab pos="447675" algn="l"/>
              </a:tabLst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73F4034-F802-8147-9CE9-2FDF5990DA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68000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6A190A09-38DF-44F3-867C-A471B79F10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51261" y="2832692"/>
            <a:ext cx="7140739" cy="4025309"/>
          </a:xfrm>
          <a:custGeom>
            <a:avLst/>
            <a:gdLst>
              <a:gd name="connsiteX0" fmla="*/ 5790363 w 7140739"/>
              <a:gd name="connsiteY0" fmla="*/ 0 h 4025309"/>
              <a:gd name="connsiteX1" fmla="*/ 7140739 w 7140739"/>
              <a:gd name="connsiteY1" fmla="*/ 938746 h 4025309"/>
              <a:gd name="connsiteX2" fmla="*/ 7140739 w 7140739"/>
              <a:gd name="connsiteY2" fmla="*/ 4025309 h 4025309"/>
              <a:gd name="connsiteX3" fmla="*/ 0 w 7140739"/>
              <a:gd name="connsiteY3" fmla="*/ 4025309 h 402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40739" h="4025309">
                <a:moveTo>
                  <a:pt x="5790363" y="0"/>
                </a:moveTo>
                <a:lnTo>
                  <a:pt x="7140739" y="938746"/>
                </a:lnTo>
                <a:lnTo>
                  <a:pt x="7140739" y="4025309"/>
                </a:lnTo>
                <a:lnTo>
                  <a:pt x="0" y="4025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Freeform 17">
            <a:extLst>
              <a:ext uri="{FF2B5EF4-FFF2-40B4-BE49-F238E27FC236}">
                <a16:creationId xmlns:a16="http://schemas.microsoft.com/office/drawing/2014/main" id="{B6240B64-00A8-4FE7-AA5A-4A2F8B98F2A4}"/>
              </a:ext>
            </a:extLst>
          </p:cNvPr>
          <p:cNvSpPr/>
          <p:nvPr userDrawn="1"/>
        </p:nvSpPr>
        <p:spPr>
          <a:xfrm rot="3299037" flipH="1" flipV="1">
            <a:off x="5974493" y="4464643"/>
            <a:ext cx="316395" cy="3206138"/>
          </a:xfrm>
          <a:custGeom>
            <a:avLst/>
            <a:gdLst>
              <a:gd name="connsiteX0" fmla="*/ 316395 w 316395"/>
              <a:gd name="connsiteY0" fmla="*/ 3162580 h 3206138"/>
              <a:gd name="connsiteX1" fmla="*/ 0 w 316395"/>
              <a:gd name="connsiteY1" fmla="*/ 3206138 h 3206138"/>
              <a:gd name="connsiteX2" fmla="*/ 0 w 316395"/>
              <a:gd name="connsiteY2" fmla="*/ 451589 h 3206138"/>
              <a:gd name="connsiteX3" fmla="*/ 316395 w 316395"/>
              <a:gd name="connsiteY3" fmla="*/ 0 h 3206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395" h="3206138">
                <a:moveTo>
                  <a:pt x="316395" y="3162580"/>
                </a:moveTo>
                <a:lnTo>
                  <a:pt x="0" y="3206138"/>
                </a:lnTo>
                <a:lnTo>
                  <a:pt x="0" y="451589"/>
                </a:lnTo>
                <a:lnTo>
                  <a:pt x="3163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EC4703DF-3E8F-47BA-BB4F-7408A471CB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A6FAD8E-BF2F-4E8F-8FBC-5DBC65D769D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58F2F8-A64B-47AC-BB12-214DCFC4F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0" y="388800"/>
            <a:ext cx="5868000" cy="990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04C4781-1C6F-4AD7-ABBE-AF369B7688D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44000" y="2250000"/>
            <a:ext cx="5868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73340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 Sub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F740B43-BCE3-48B4-A408-DEABA1AA5B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2249826"/>
            <a:ext cx="11303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2346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 Sub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503197B-A40F-451E-B6DA-084A5A1A2B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36C5D7ED-4BED-4EE7-B3FF-722D1205BE1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67209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40C6F6E-D956-4630-B168-B51632E277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650234-DD57-4C81-AB23-92FD51EEBD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42799" y="1773238"/>
            <a:ext cx="11303999" cy="43645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6942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404D3DD-A8C5-4AF4-A4E4-A188F633D1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99E7B1C1-34C1-6F45-99D4-F888C43103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9C58B1-5C87-C44A-97E7-9FC9E8476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B9CE05-D4AE-463E-BA12-526BA7792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C05D07E-7642-468E-A593-5C1B6E1256F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E40CECA-4BA9-4D19-9201-5A9DE5481A2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26C8BA5-0E8C-4487-9FA7-318D450C9B0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8FBEBCF-44F0-4FE9-B526-334C836A97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3497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8">
            <a:extLst>
              <a:ext uri="{FF2B5EF4-FFF2-40B4-BE49-F238E27FC236}">
                <a16:creationId xmlns:a16="http://schemas.microsoft.com/office/drawing/2014/main" id="{52F038EE-63DB-4468-A7FF-D4C488C62278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0C92DC8-8F9B-FD4C-A423-93681EAA05B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4357" y="1202822"/>
            <a:ext cx="8127643" cy="5655179"/>
          </a:xfrm>
          <a:custGeom>
            <a:avLst/>
            <a:gdLst>
              <a:gd name="connsiteX0" fmla="*/ 8127643 w 8127643"/>
              <a:gd name="connsiteY0" fmla="*/ 0 h 5655179"/>
              <a:gd name="connsiteX1" fmla="*/ 8127643 w 8127643"/>
              <a:gd name="connsiteY1" fmla="*/ 4020543 h 5655179"/>
              <a:gd name="connsiteX2" fmla="*/ 5775413 w 8127643"/>
              <a:gd name="connsiteY2" fmla="*/ 5655179 h 5655179"/>
              <a:gd name="connsiteX3" fmla="*/ 0 w 8127643"/>
              <a:gd name="connsiteY3" fmla="*/ 5655179 h 5655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7643" h="5655179">
                <a:moveTo>
                  <a:pt x="8127643" y="0"/>
                </a:moveTo>
                <a:lnTo>
                  <a:pt x="8127643" y="4020543"/>
                </a:lnTo>
                <a:lnTo>
                  <a:pt x="5775413" y="5655179"/>
                </a:lnTo>
                <a:lnTo>
                  <a:pt x="0" y="565517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2376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lang="en-GB" sz="18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  <a:p>
            <a:pPr marL="0" lvl="0" indent="0" algn="ctr"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873B3ECE-66FA-8F4A-9BA4-70589FB28F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199" y="3281163"/>
            <a:ext cx="6397626" cy="1218593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/>
              <a:t>Subtitle goes here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36A979B9-FB94-CB41-BC9E-B6C559E0F5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197" y="1233488"/>
            <a:ext cx="6443999" cy="381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D50170-9A03-4DF0-ADB1-B9E0F3635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800000"/>
            <a:ext cx="6443998" cy="990001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C11DD6-F2E7-4DAD-A8D2-25B1960A815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42800" y="6480000"/>
            <a:ext cx="2396518" cy="123111"/>
          </a:xfrm>
        </p:spPr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E106C1-E5A4-4F33-AEF9-E4AE65A838B4}"/>
              </a:ext>
            </a:extLst>
          </p:cNvPr>
          <p:cNvSpPr/>
          <p:nvPr userDrawn="1"/>
        </p:nvSpPr>
        <p:spPr>
          <a:xfrm rot="17391976" flipH="1">
            <a:off x="9337917" y="4563796"/>
            <a:ext cx="3055372" cy="2597595"/>
          </a:xfrm>
          <a:custGeom>
            <a:avLst/>
            <a:gdLst>
              <a:gd name="connsiteX0" fmla="*/ 0 w 4662314"/>
              <a:gd name="connsiteY0" fmla="*/ 3205489 h 3391128"/>
              <a:gd name="connsiteX1" fmla="*/ 513768 w 4662314"/>
              <a:gd name="connsiteY1" fmla="*/ 3391128 h 3391128"/>
              <a:gd name="connsiteX2" fmla="*/ 4662314 w 4662314"/>
              <a:gd name="connsiteY2" fmla="*/ 452233 h 3391128"/>
              <a:gd name="connsiteX3" fmla="*/ 4542036 w 4662314"/>
              <a:gd name="connsiteY3" fmla="*/ 0 h 3391128"/>
              <a:gd name="connsiteX0" fmla="*/ 0 w 4662314"/>
              <a:gd name="connsiteY0" fmla="*/ 3205489 h 3683558"/>
              <a:gd name="connsiteX1" fmla="*/ 1543623 w 4662314"/>
              <a:gd name="connsiteY1" fmla="*/ 3683558 h 3683558"/>
              <a:gd name="connsiteX2" fmla="*/ 4662314 w 4662314"/>
              <a:gd name="connsiteY2" fmla="*/ 452233 h 3683558"/>
              <a:gd name="connsiteX3" fmla="*/ 4542036 w 4662314"/>
              <a:gd name="connsiteY3" fmla="*/ 0 h 3683558"/>
              <a:gd name="connsiteX4" fmla="*/ 0 w 4662314"/>
              <a:gd name="connsiteY4" fmla="*/ 3205489 h 3683558"/>
              <a:gd name="connsiteX0" fmla="*/ 0 w 4662314"/>
              <a:gd name="connsiteY0" fmla="*/ 3205489 h 3744923"/>
              <a:gd name="connsiteX1" fmla="*/ 1586816 w 4662314"/>
              <a:gd name="connsiteY1" fmla="*/ 3744922 h 3744923"/>
              <a:gd name="connsiteX2" fmla="*/ 4662314 w 4662314"/>
              <a:gd name="connsiteY2" fmla="*/ 452233 h 3744923"/>
              <a:gd name="connsiteX3" fmla="*/ 4542036 w 4662314"/>
              <a:gd name="connsiteY3" fmla="*/ 0 h 3744923"/>
              <a:gd name="connsiteX4" fmla="*/ 0 w 4662314"/>
              <a:gd name="connsiteY4" fmla="*/ 3205489 h 3744923"/>
              <a:gd name="connsiteX0" fmla="*/ 0 w 4542036"/>
              <a:gd name="connsiteY0" fmla="*/ 3205489 h 3744922"/>
              <a:gd name="connsiteX1" fmla="*/ 1586816 w 4542036"/>
              <a:gd name="connsiteY1" fmla="*/ 3744922 h 3744922"/>
              <a:gd name="connsiteX2" fmla="*/ 3838762 w 4542036"/>
              <a:gd name="connsiteY2" fmla="*/ 2176681 h 3744922"/>
              <a:gd name="connsiteX3" fmla="*/ 4542036 w 4542036"/>
              <a:gd name="connsiteY3" fmla="*/ 0 h 3744922"/>
              <a:gd name="connsiteX4" fmla="*/ 0 w 4542036"/>
              <a:gd name="connsiteY4" fmla="*/ 3205489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838114 w 4541388"/>
              <a:gd name="connsiteY2" fmla="*/ 2176681 h 3744922"/>
              <a:gd name="connsiteX3" fmla="*/ 4541388 w 4541388"/>
              <a:gd name="connsiteY3" fmla="*/ 0 h 3744922"/>
              <a:gd name="connsiteX4" fmla="*/ 0 w 4541388"/>
              <a:gd name="connsiteY4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0 w 4541388"/>
              <a:gd name="connsiteY5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3838114 w 4541388"/>
              <a:gd name="connsiteY3" fmla="*/ 2176681 h 3744922"/>
              <a:gd name="connsiteX4" fmla="*/ 4541388 w 4541388"/>
              <a:gd name="connsiteY4" fmla="*/ 0 h 3744922"/>
              <a:gd name="connsiteX5" fmla="*/ 3906986 w 4541388"/>
              <a:gd name="connsiteY5" fmla="*/ 418650 h 3744922"/>
              <a:gd name="connsiteX6" fmla="*/ 0 w 4541388"/>
              <a:gd name="connsiteY6" fmla="*/ 3179576 h 3744922"/>
              <a:gd name="connsiteX0" fmla="*/ 0 w 4541388"/>
              <a:gd name="connsiteY0" fmla="*/ 3179576 h 3744922"/>
              <a:gd name="connsiteX1" fmla="*/ 1586168 w 4541388"/>
              <a:gd name="connsiteY1" fmla="*/ 3744922 h 3744922"/>
              <a:gd name="connsiteX2" fmla="*/ 3117387 w 4541388"/>
              <a:gd name="connsiteY2" fmla="*/ 2652155 h 3744922"/>
              <a:gd name="connsiteX3" fmla="*/ 4541388 w 4541388"/>
              <a:gd name="connsiteY3" fmla="*/ 0 h 3744922"/>
              <a:gd name="connsiteX4" fmla="*/ 3906986 w 4541388"/>
              <a:gd name="connsiteY4" fmla="*/ 418650 h 3744922"/>
              <a:gd name="connsiteX5" fmla="*/ 0 w 4541388"/>
              <a:gd name="connsiteY5" fmla="*/ 3179576 h 3744922"/>
              <a:gd name="connsiteX0" fmla="*/ 0 w 3906986"/>
              <a:gd name="connsiteY0" fmla="*/ 2760926 h 3326272"/>
              <a:gd name="connsiteX1" fmla="*/ 1586168 w 3906986"/>
              <a:gd name="connsiteY1" fmla="*/ 3326272 h 3326272"/>
              <a:gd name="connsiteX2" fmla="*/ 3117387 w 3906986"/>
              <a:gd name="connsiteY2" fmla="*/ 2233505 h 3326272"/>
              <a:gd name="connsiteX3" fmla="*/ 3906986 w 3906986"/>
              <a:gd name="connsiteY3" fmla="*/ 0 h 3326272"/>
              <a:gd name="connsiteX4" fmla="*/ 0 w 3906986"/>
              <a:gd name="connsiteY4" fmla="*/ 2760926 h 3326272"/>
              <a:gd name="connsiteX0" fmla="*/ 0 w 3944041"/>
              <a:gd name="connsiteY0" fmla="*/ 2791114 h 3356460"/>
              <a:gd name="connsiteX1" fmla="*/ 1586168 w 3944041"/>
              <a:gd name="connsiteY1" fmla="*/ 3356460 h 3356460"/>
              <a:gd name="connsiteX2" fmla="*/ 3117387 w 3944041"/>
              <a:gd name="connsiteY2" fmla="*/ 2263693 h 3356460"/>
              <a:gd name="connsiteX3" fmla="*/ 3944041 w 3944041"/>
              <a:gd name="connsiteY3" fmla="*/ 0 h 3356460"/>
              <a:gd name="connsiteX4" fmla="*/ 0 w 3944041"/>
              <a:gd name="connsiteY4" fmla="*/ 2791114 h 3356460"/>
              <a:gd name="connsiteX0" fmla="*/ 0 w 3944041"/>
              <a:gd name="connsiteY0" fmla="*/ 2791114 h 3353118"/>
              <a:gd name="connsiteX1" fmla="*/ 1576917 w 3944041"/>
              <a:gd name="connsiteY1" fmla="*/ 3353118 h 3353118"/>
              <a:gd name="connsiteX2" fmla="*/ 3117387 w 3944041"/>
              <a:gd name="connsiteY2" fmla="*/ 2263693 h 3353118"/>
              <a:gd name="connsiteX3" fmla="*/ 3944041 w 3944041"/>
              <a:gd name="connsiteY3" fmla="*/ 0 h 3353118"/>
              <a:gd name="connsiteX4" fmla="*/ 0 w 3944041"/>
              <a:gd name="connsiteY4" fmla="*/ 2791114 h 3353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4041" h="3353118">
                <a:moveTo>
                  <a:pt x="0" y="2791114"/>
                </a:moveTo>
                <a:lnTo>
                  <a:pt x="1576917" y="3353118"/>
                </a:lnTo>
                <a:lnTo>
                  <a:pt x="3117387" y="2263693"/>
                </a:lnTo>
                <a:lnTo>
                  <a:pt x="3944041" y="0"/>
                </a:lnTo>
                <a:lnTo>
                  <a:pt x="0" y="2791114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3666787-C34F-4060-9C0B-3567CC8D732A}"/>
              </a:ext>
            </a:extLst>
          </p:cNvPr>
          <p:cNvSpPr/>
          <p:nvPr userDrawn="1"/>
        </p:nvSpPr>
        <p:spPr>
          <a:xfrm rot="3299037">
            <a:off x="4967294" y="3363337"/>
            <a:ext cx="1106312" cy="5035605"/>
          </a:xfrm>
          <a:custGeom>
            <a:avLst/>
            <a:gdLst>
              <a:gd name="connsiteX0" fmla="*/ 0 w 1208279"/>
              <a:gd name="connsiteY0" fmla="*/ 444052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0" fmla="*/ 12488 w 1208279"/>
              <a:gd name="connsiteY0" fmla="*/ 290096 h 5841369"/>
              <a:gd name="connsiteX1" fmla="*/ 1208279 w 1208279"/>
              <a:gd name="connsiteY1" fmla="*/ 0 h 5841369"/>
              <a:gd name="connsiteX2" fmla="*/ 1208279 w 1208279"/>
              <a:gd name="connsiteY2" fmla="*/ 4116796 h 5841369"/>
              <a:gd name="connsiteX3" fmla="*/ 0 w 1208279"/>
              <a:gd name="connsiteY3" fmla="*/ 5841369 h 5841369"/>
              <a:gd name="connsiteX4" fmla="*/ 12488 w 1208279"/>
              <a:gd name="connsiteY4" fmla="*/ 290096 h 5841369"/>
              <a:gd name="connsiteX0" fmla="*/ 12488 w 1208279"/>
              <a:gd name="connsiteY0" fmla="*/ 386502 h 5937775"/>
              <a:gd name="connsiteX1" fmla="*/ 1118728 w 1208279"/>
              <a:gd name="connsiteY1" fmla="*/ 0 h 5937775"/>
              <a:gd name="connsiteX2" fmla="*/ 1208279 w 1208279"/>
              <a:gd name="connsiteY2" fmla="*/ 4213202 h 5937775"/>
              <a:gd name="connsiteX3" fmla="*/ 0 w 1208279"/>
              <a:gd name="connsiteY3" fmla="*/ 5937775 h 5937775"/>
              <a:gd name="connsiteX4" fmla="*/ 12488 w 1208279"/>
              <a:gd name="connsiteY4" fmla="*/ 386502 h 5937775"/>
              <a:gd name="connsiteX0" fmla="*/ 12488 w 1118728"/>
              <a:gd name="connsiteY0" fmla="*/ 386502 h 5937775"/>
              <a:gd name="connsiteX1" fmla="*/ 1118728 w 1118728"/>
              <a:gd name="connsiteY1" fmla="*/ 0 h 5937775"/>
              <a:gd name="connsiteX2" fmla="*/ 1098667 w 1118728"/>
              <a:gd name="connsiteY2" fmla="*/ 4377658 h 5937775"/>
              <a:gd name="connsiteX3" fmla="*/ 0 w 1118728"/>
              <a:gd name="connsiteY3" fmla="*/ 5937775 h 5937775"/>
              <a:gd name="connsiteX4" fmla="*/ 12488 w 1118728"/>
              <a:gd name="connsiteY4" fmla="*/ 386502 h 5937775"/>
              <a:gd name="connsiteX0" fmla="*/ 286229 w 1392469"/>
              <a:gd name="connsiteY0" fmla="*/ 386502 h 6395953"/>
              <a:gd name="connsiteX1" fmla="*/ 1392469 w 1392469"/>
              <a:gd name="connsiteY1" fmla="*/ 0 h 6395953"/>
              <a:gd name="connsiteX2" fmla="*/ 1372408 w 1392469"/>
              <a:gd name="connsiteY2" fmla="*/ 4377658 h 6395953"/>
              <a:gd name="connsiteX3" fmla="*/ 0 w 1392469"/>
              <a:gd name="connsiteY3" fmla="*/ 6395953 h 6395953"/>
              <a:gd name="connsiteX4" fmla="*/ 286229 w 1392469"/>
              <a:gd name="connsiteY4" fmla="*/ 386502 h 6395953"/>
              <a:gd name="connsiteX0" fmla="*/ 0 w 1405178"/>
              <a:gd name="connsiteY0" fmla="*/ 425228 h 6395953"/>
              <a:gd name="connsiteX1" fmla="*/ 1405178 w 1405178"/>
              <a:gd name="connsiteY1" fmla="*/ 0 h 6395953"/>
              <a:gd name="connsiteX2" fmla="*/ 1385117 w 1405178"/>
              <a:gd name="connsiteY2" fmla="*/ 4377658 h 6395953"/>
              <a:gd name="connsiteX3" fmla="*/ 12709 w 1405178"/>
              <a:gd name="connsiteY3" fmla="*/ 6395953 h 6395953"/>
              <a:gd name="connsiteX4" fmla="*/ 0 w 1405178"/>
              <a:gd name="connsiteY4" fmla="*/ 425228 h 6395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5178" h="6395953">
                <a:moveTo>
                  <a:pt x="0" y="425228"/>
                </a:moveTo>
                <a:lnTo>
                  <a:pt x="1405178" y="0"/>
                </a:lnTo>
                <a:lnTo>
                  <a:pt x="1385117" y="4377658"/>
                </a:lnTo>
                <a:cubicBezTo>
                  <a:pt x="1018895" y="4897697"/>
                  <a:pt x="378931" y="5875914"/>
                  <a:pt x="12709" y="6395953"/>
                </a:cubicBezTo>
                <a:cubicBezTo>
                  <a:pt x="12709" y="4596847"/>
                  <a:pt x="0" y="2224334"/>
                  <a:pt x="0" y="425228"/>
                </a:cubicBez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2"/>
              </a:solidFill>
            </a:endParaRPr>
          </a:p>
        </p:txBody>
      </p:sp>
      <p:pic>
        <p:nvPicPr>
          <p:cNvPr id="2" name="Graphic 16">
            <a:extLst>
              <a:ext uri="{FF2B5EF4-FFF2-40B4-BE49-F238E27FC236}">
                <a16:creationId xmlns:a16="http://schemas.microsoft.com/office/drawing/2014/main" id="{3BB3A97C-C95D-376C-7ABF-C9FB672B0B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17887" y="78394"/>
            <a:ext cx="2715762" cy="122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351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945F975-90D8-4FC9-9785-ADBE8EB862F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B0EA591-0F76-4C5D-A80F-BE3FFDBDE3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5F455DBC-1E38-439B-BEB5-04B5EAD319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D630176-F6B5-47F2-8078-132CA09BA10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35BF33-BB6E-45E7-8DA2-B771B41B93E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799" y="2249826"/>
            <a:ext cx="5399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99B19804-BB2B-4735-8B2C-A604FF50836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46799" y="2249826"/>
            <a:ext cx="5399999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 and use Alt, Shift plus the arrow keys to change to other placeholder text styles, such as bullet levels and body heading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9614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E5423F6E-0382-4DF4-9C5E-E470F9F31A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2420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1B7B52BA-04B5-47EB-9317-AC1C3DE483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4581D52-5A11-4CEF-A19A-C47F763A7B43}"/>
              </a:ext>
            </a:extLst>
          </p:cNvPr>
          <p:cNvSpPr/>
          <p:nvPr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1"/>
              </a:gs>
              <a:gs pos="98000">
                <a:srgbClr val="073262"/>
              </a:gs>
              <a:gs pos="33000">
                <a:schemeClr val="accent2"/>
              </a:gs>
              <a:gs pos="0">
                <a:srgbClr val="073262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800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3728C49-8B97-44DE-B314-372422AECD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9C4AAAD0-4193-42FD-A688-B0CD9CED6745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E2A8F19F-DE6E-4F6F-B1FB-F82B517C455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71EA3C23-FE46-4BD5-AC99-6025EBCE08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4766BF9-5F7D-49F6-81BD-0B4EBA1BC190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39C241-A37E-4FB1-AB6F-5454AC48439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42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B9B68F2-D439-4594-AC54-2D97003187A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370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49A707FB-2749-4A62-9BFA-375267A10C6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98799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D3ACC19A-B912-4B59-B8C0-B7B50203303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226798" y="2249826"/>
            <a:ext cx="252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66640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901185C5-077B-4940-8CF0-01FC961ECB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F004A700-4D6B-794D-9E1F-B688ED6936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5" name="Title 3">
            <a:extLst>
              <a:ext uri="{FF2B5EF4-FFF2-40B4-BE49-F238E27FC236}">
                <a16:creationId xmlns:a16="http://schemas.microsoft.com/office/drawing/2014/main" id="{F679A7A8-7517-400C-92F2-47DF5DFAE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C5BFAF6D-F9A4-4082-BB3E-3585BE01845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AE361D-E02F-49AE-9D8E-909869D37E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022FA43-3E87-4FEF-93E8-E316AF48C48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22699F3-A2B0-491D-9618-7F1A6C8D6248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9A74A5-0B9E-494D-AA42-59356F87032E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6AAC404-50AD-49DC-8CC0-C9AFE4997C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9C17C-E3C9-4300-878F-674F3FE9EA4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40C5D9-7E2C-4DBF-B474-7315E5694EA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2799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0246EE9D-0C3A-4235-852F-8553258011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48799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BA876610-D805-422A-AB67-A2E3457706B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254798" y="2249827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360925D-64BD-4B3C-8A81-8518ADDBB2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42799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0383EBB-A0B3-47F7-87D6-8932F29B6F8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799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390A7376-F8D9-485E-ACF1-C6D581D91DF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254798" y="4412359"/>
            <a:ext cx="3492000" cy="17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09916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Object Box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1A0431F0-8CC8-49B2-BF38-C64BE300FA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84910E85-A840-A34D-ACA6-7D1ECD49672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BBEAF997-6809-4636-8337-1DC306436A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AE2FC26A-8D8D-4044-8040-65574EFDEA2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833661B-FDB1-4FD2-AA10-7509875192F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56BE9C3-9D24-4D01-BA4D-BF75A9D51FE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C100CA-D516-42FC-BC3F-FAC2BD900CA3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6DCDD012-C59E-408C-9BC6-87284E8CBC48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46798" y="2249827"/>
            <a:ext cx="5400000" cy="3096000"/>
          </a:xfrm>
          <a:prstGeom prst="rect">
            <a:avLst/>
          </a:prstGeom>
        </p:spPr>
        <p:txBody>
          <a:bodyPr anchor="ctr" anchorCtr="0"/>
          <a:lstStyle>
            <a:lvl1pPr algn="ctr"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CBDA8CD-2DCF-4C62-A004-4DB0541924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6798" y="5448612"/>
            <a:ext cx="5400000" cy="68921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600" b="0">
                <a:solidFill>
                  <a:schemeClr val="tx2"/>
                </a:solidFill>
              </a:defRPr>
            </a:lvl2pPr>
            <a:lvl3pPr marL="269875" indent="-269875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sz="1400">
                <a:solidFill>
                  <a:schemeClr val="tx2"/>
                </a:solidFill>
              </a:defRPr>
            </a:lvl3pPr>
            <a:lvl4pPr marL="503238" indent="-233363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tx2"/>
                </a:solidFill>
              </a:defRPr>
            </a:lvl4pPr>
            <a:lvl5pPr marL="717550" indent="-193675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lang="en-GB" sz="1050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insert chart commentar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4264AD-E771-4AD5-B1EE-AD1A80E2730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6DA62B6-9735-4EA3-AD07-FF34EF82BD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7AC1B6-E17D-439D-A681-3E7005DA409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B988B8B-FFD1-4F96-AC27-37F2C24F27E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42799" y="2249827"/>
            <a:ext cx="5400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03354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568E834-5CC4-4939-BBCE-0A3FE71A54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20" name="Table Placeholder 2">
            <a:extLst>
              <a:ext uri="{FF2B5EF4-FFF2-40B4-BE49-F238E27FC236}">
                <a16:creationId xmlns:a16="http://schemas.microsoft.com/office/drawing/2014/main" id="{B0D006F0-61D9-476E-AD83-77162C976486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IN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0245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082C62B-85C9-4697-8529-D9FA1343B6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7F41918F-AEF0-3549-9EA6-E7B6AA50A0F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3" name="Title 3">
            <a:extLst>
              <a:ext uri="{FF2B5EF4-FFF2-40B4-BE49-F238E27FC236}">
                <a16:creationId xmlns:a16="http://schemas.microsoft.com/office/drawing/2014/main" id="{D6E09562-C092-4EC4-9CB9-87058017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99C27CBC-6D6C-4277-BB7A-F462AFC68F16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74723B6-0B34-4771-BC50-18FC48527B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A1AF2-E8EC-4AF2-BE91-594808F11BAD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039E2CB-9F37-473F-93FB-D42BBF5BAAA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7842F8-F35D-4368-B212-80696337494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9BE4BA-75D7-4854-BDC1-5F8B838545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8BC242-7955-47DB-A884-23F7B8DC8A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C54E401-1D0D-436B-85F4-4704AD03A9E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2799" y="2249826"/>
            <a:ext cx="11304000" cy="38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7342223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 Corners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162050-E955-4275-BEF2-5423D0077F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D9AC699-128E-45D5-B4BD-EAC43A48A49E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272390D-159B-4196-85C8-AA23F030744B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6685164-D677-427B-80C8-FE067C72B49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7020BA19-38E8-4FDA-B53A-16F1C13492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BAFA92-4783-4C5A-8253-6644BF0A1D2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18860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125578B-6503-4AC1-BE39-49EE58B3EA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99F3A524-93C3-4449-BDB4-13AC8C0D9F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FCA5AE9-16F5-49C5-B31D-EEE1E47188CC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AA9CFC4A-1CEB-4790-BACF-6EA17DF30D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379C90-D03A-4E69-A2E9-B510124AEE82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9284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 To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FE8928F8-8E19-482D-8DBC-79B7F215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E369FB11-7907-467F-8696-2250886D64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75645" y="2852103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3431397E-CA6D-447B-89CE-7141F15223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2852103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481F11-552E-4AC1-B90D-84C47A0F5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3" y="2232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From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904BCC42-990A-4C9D-B509-29DF24C802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1600" y="2196000"/>
            <a:ext cx="5126037" cy="363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To</a:t>
            </a:r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DF459731-1012-4F51-AB8C-A81255FA384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69592" y="4016631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02522068-1D86-4299-A574-347C2821CAF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912" y="4016631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22D0734C-534D-4AAB-B46F-E3DC9C987D3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981700" y="5181159"/>
            <a:ext cx="5779496" cy="936000"/>
          </a:xfrm>
          <a:custGeom>
            <a:avLst/>
            <a:gdLst>
              <a:gd name="connsiteX0" fmla="*/ 0 w 6008687"/>
              <a:gd name="connsiteY0" fmla="*/ 0 h 978906"/>
              <a:gd name="connsiteX1" fmla="*/ 6008687 w 6008687"/>
              <a:gd name="connsiteY1" fmla="*/ 0 h 978906"/>
              <a:gd name="connsiteX2" fmla="*/ 6008687 w 6008687"/>
              <a:gd name="connsiteY2" fmla="*/ 489453 h 978906"/>
              <a:gd name="connsiteX3" fmla="*/ 6008687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6008687" y="0"/>
                </a:lnTo>
                <a:lnTo>
                  <a:pt x="6008687" y="489453"/>
                </a:lnTo>
                <a:lnTo>
                  <a:pt x="6008687" y="978906"/>
                </a:lnTo>
                <a:lnTo>
                  <a:pt x="0" y="978906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50000"/>
                </a:schemeClr>
              </a:gs>
              <a:gs pos="100000">
                <a:schemeClr val="accent2"/>
              </a:gs>
            </a:gsLst>
            <a:lin ang="0" scaled="1"/>
          </a:gradFill>
        </p:spPr>
        <p:txBody>
          <a:bodyPr vert="horz" wrap="square" lIns="792000" tIns="45720" rIns="288000" bIns="45720" rtlCol="0" anchor="ctr" anchorCtr="0">
            <a:no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266700" lvl="0" indent="-266700"/>
            <a:r>
              <a:rPr lang="en-US"/>
              <a:t>Click to edit Master text styles</a:t>
            </a:r>
          </a:p>
        </p:txBody>
      </p:sp>
      <p:sp>
        <p:nvSpPr>
          <p:cNvPr id="88" name="Text Placeholder 87">
            <a:extLst>
              <a:ext uri="{FF2B5EF4-FFF2-40B4-BE49-F238E27FC236}">
                <a16:creationId xmlns:a16="http://schemas.microsoft.com/office/drawing/2014/main" id="{E3E31F3B-3F47-424E-9E3A-E3D439B3A60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196" y="5181159"/>
            <a:ext cx="6008687" cy="936000"/>
          </a:xfrm>
          <a:custGeom>
            <a:avLst/>
            <a:gdLst>
              <a:gd name="connsiteX0" fmla="*/ 0 w 6008687"/>
              <a:gd name="connsiteY0" fmla="*/ 0 h 978906"/>
              <a:gd name="connsiteX1" fmla="*/ 5519234 w 6008687"/>
              <a:gd name="connsiteY1" fmla="*/ 0 h 978906"/>
              <a:gd name="connsiteX2" fmla="*/ 6008687 w 6008687"/>
              <a:gd name="connsiteY2" fmla="*/ 489453 h 978906"/>
              <a:gd name="connsiteX3" fmla="*/ 5519234 w 6008687"/>
              <a:gd name="connsiteY3" fmla="*/ 978906 h 978906"/>
              <a:gd name="connsiteX4" fmla="*/ 0 w 6008687"/>
              <a:gd name="connsiteY4" fmla="*/ 978906 h 978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8687" h="978906">
                <a:moveTo>
                  <a:pt x="0" y="0"/>
                </a:moveTo>
                <a:lnTo>
                  <a:pt x="5519234" y="0"/>
                </a:lnTo>
                <a:lnTo>
                  <a:pt x="6008687" y="489453"/>
                </a:lnTo>
                <a:lnTo>
                  <a:pt x="5519234" y="978906"/>
                </a:lnTo>
                <a:lnTo>
                  <a:pt x="0" y="978906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  <a:tileRect/>
          </a:gradFill>
        </p:spPr>
        <p:txBody>
          <a:bodyPr wrap="square" lIns="288000" rIns="288000" anchor="ctr" anchorCtr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D7F8775-4EFF-497B-A127-D347C4E65B2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19C3E27-EA49-4C1F-88F7-145D73459B6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950CD98-A671-4A84-BAA9-FF4FA6646D38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2F17EEC5-3654-468C-B185-1F74B09652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C7B8E5D-5373-4534-B7A6-D90C6CCED9D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417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0AF48DA9-E99B-4AAD-8AED-1F315BB61CAB}"/>
              </a:ext>
            </a:extLst>
          </p:cNvPr>
          <p:cNvSpPr/>
          <p:nvPr userDrawn="1"/>
        </p:nvSpPr>
        <p:spPr>
          <a:xfrm rot="5400000">
            <a:off x="0" y="1"/>
            <a:ext cx="3815466" cy="3815466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7132858-3690-C942-AE55-74072A035C6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"/>
            <a:ext cx="5711211" cy="6857999"/>
          </a:xfrm>
          <a:custGeom>
            <a:avLst/>
            <a:gdLst>
              <a:gd name="connsiteX0" fmla="*/ 3888681 w 5711211"/>
              <a:gd name="connsiteY0" fmla="*/ 0 h 6857999"/>
              <a:gd name="connsiteX1" fmla="*/ 5711211 w 5711211"/>
              <a:gd name="connsiteY1" fmla="*/ 0 h 6857999"/>
              <a:gd name="connsiteX2" fmla="*/ 5711211 w 5711211"/>
              <a:gd name="connsiteY2" fmla="*/ 4103993 h 6857999"/>
              <a:gd name="connsiteX3" fmla="*/ 1739709 w 5711211"/>
              <a:gd name="connsiteY3" fmla="*/ 6857999 h 6857999"/>
              <a:gd name="connsiteX4" fmla="*/ 0 w 5711211"/>
              <a:gd name="connsiteY4" fmla="*/ 6857999 h 6857999"/>
              <a:gd name="connsiteX5" fmla="*/ 0 w 5711211"/>
              <a:gd name="connsiteY5" fmla="*/ 271410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1211" h="6857999">
                <a:moveTo>
                  <a:pt x="3888681" y="0"/>
                </a:moveTo>
                <a:lnTo>
                  <a:pt x="5711211" y="0"/>
                </a:lnTo>
                <a:lnTo>
                  <a:pt x="5711211" y="4103993"/>
                </a:lnTo>
                <a:lnTo>
                  <a:pt x="1739709" y="6857999"/>
                </a:lnTo>
                <a:lnTo>
                  <a:pt x="0" y="6857999"/>
                </a:lnTo>
                <a:lnTo>
                  <a:pt x="0" y="2714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6B13E25-8F4C-4776-AE12-AE1FB57ACD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2414" y="2259127"/>
            <a:ext cx="4004633" cy="3810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tabLst>
                <a:tab pos="2509838" algn="l"/>
              </a:tabLst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Subtitle goes here</a:t>
            </a:r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F0A4E75-D008-4A3D-9E2B-EFA56AA2C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3100375"/>
            <a:ext cx="4004632" cy="99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4000" b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itle of the deck</a:t>
            </a:r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850966A-A907-44E5-AD4A-B2C25296B1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42415" y="4550622"/>
            <a:ext cx="4004632" cy="581046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  <a:ea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a-DK"/>
              <a:t>Date</a:t>
            </a:r>
            <a:endParaRPr lang="en-US"/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CF0C42AB-56AB-4CD9-BC29-E642601C21CA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Freeform: Shape 38">
            <a:extLst>
              <a:ext uri="{FF2B5EF4-FFF2-40B4-BE49-F238E27FC236}">
                <a16:creationId xmlns:a16="http://schemas.microsoft.com/office/drawing/2014/main" id="{64FAF79B-779C-47A3-89F1-134187E543EF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96DC3D-7488-477F-B5D0-C4E18D0F845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9325244" y="6480000"/>
            <a:ext cx="2396518" cy="123111"/>
          </a:xfrm>
        </p:spPr>
        <p:txBody>
          <a:bodyPr/>
          <a:lstStyle/>
          <a:p>
            <a:pPr algn="r"/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pic>
        <p:nvPicPr>
          <p:cNvPr id="3" name="Graphic 16">
            <a:extLst>
              <a:ext uri="{FF2B5EF4-FFF2-40B4-BE49-F238E27FC236}">
                <a16:creationId xmlns:a16="http://schemas.microsoft.com/office/drawing/2014/main" id="{61A54FDC-2C02-13D7-0FFB-3DA8A32274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17887" y="78394"/>
            <a:ext cx="2715762" cy="122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4406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3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79942E38-DA26-4B18-AFCB-A57E62078A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977456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977455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601033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601033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610"/>
            <a:ext cx="4058747" cy="1152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8" y="388845"/>
            <a:ext cx="11304000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522804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609"/>
            <a:ext cx="7852580" cy="1152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wrap="square" lIns="936000" anchor="ctr" anchorCtr="0">
            <a:noAutofit/>
          </a:bodyPr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8992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5275650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0DE3D9A-5745-456B-8E35-49AEDDA27D34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7353E-1508-4EB2-B032-CFE0208BB6BA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61DE440B-C47F-416C-8AEC-F66503201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EC20A41-BC4E-4146-B326-26BC80025289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3516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4B8BAC0D-870B-4BF1-AF05-F29BD7F64D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530014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530014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4274923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4274923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Fusce posuere, magna sed pulvinar ultricies, purus lectus malesuada libero, sit amet commodo magna eros quis urna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249702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249702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</a:t>
            </a:r>
            <a:r>
              <a:rPr lang="en-US" err="1"/>
              <a:t>elit</a:t>
            </a:r>
            <a:r>
              <a:rPr lang="en-US"/>
              <a:t>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1"/>
            <a:ext cx="4058747" cy="828000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36067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481"/>
            <a:ext cx="7852580" cy="828000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 marL="0" indent="0">
              <a:buNone/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38589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441111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543633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44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E471F1E-DBD6-42B4-BC7F-68658494AEC6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2B1C5B1-DD5C-46BD-9171-3F3551A3196C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CA5EF783-E964-4A68-BFA0-29D6D51481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4B2A3D8-BFDF-4F41-AF46-F35B3FC27A8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437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List 5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53DE74C9-5BE2-4781-868E-3C8C617C7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61" y="46442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25D64D6E-71F8-4B7E-903B-6FCF3E942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91363" y="46441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3" name="Text Placeholder 92">
            <a:extLst>
              <a:ext uri="{FF2B5EF4-FFF2-40B4-BE49-F238E27FC236}">
                <a16:creationId xmlns:a16="http://schemas.microsoft.com/office/drawing/2014/main" id="{F4593608-4C2B-4E16-9A18-8ED3107178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9888" y="3837683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4" name="Text Placeholder 93">
            <a:extLst>
              <a:ext uri="{FF2B5EF4-FFF2-40B4-BE49-F238E27FC236}">
                <a16:creationId xmlns:a16="http://schemas.microsoft.com/office/drawing/2014/main" id="{08E8F908-BDF4-4339-A814-E14D772FAC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91363" y="38375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20368A86-6E81-491C-BFBF-5C275DEBF0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0807" y="3031084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BECE3F49-908D-458F-81F6-7DDD8C953D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1363" y="30309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porttitor congue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posuere, magna sed pulvinar ultricies, purus lectus </a:t>
            </a:r>
            <a:r>
              <a:rPr lang="en-US" err="1"/>
              <a:t>malesuada</a:t>
            </a:r>
            <a:r>
              <a:rPr lang="en-US"/>
              <a:t> libero, sit amet </a:t>
            </a:r>
            <a:r>
              <a:rPr lang="en-US" err="1"/>
              <a:t>commodo</a:t>
            </a:r>
            <a:r>
              <a:rPr lang="en-US"/>
              <a:t> magna eros quis urna.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698C8E7-ED6D-4D45-AE7B-9892EF4D2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5" y="2224482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EA69D30-915D-5248-AAAA-DE2EB53DDA4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300452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9EF38A9-A58B-0841-8A42-7AECC0BA473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E57E5345-E452-489A-8185-02EF050D64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BFCF-F96D-42FD-95BC-E15A6578D4F7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B1F00-E356-43EE-9586-361C083A1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415" y="2283225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1</a:t>
            </a:r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6AF2132A-3834-40CD-8D2D-64F97FD66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1363" y="2224354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 marL="0" indent="0">
              <a:buNone/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E1BCCBD5-9278-4EC4-A369-A1894C7206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307" y="30898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2</a:t>
            </a:r>
          </a:p>
        </p:txBody>
      </p:sp>
      <p:sp>
        <p:nvSpPr>
          <p:cNvPr id="92" name="Text Placeholder 6">
            <a:extLst>
              <a:ext uri="{FF2B5EF4-FFF2-40B4-BE49-F238E27FC236}">
                <a16:creationId xmlns:a16="http://schemas.microsoft.com/office/drawing/2014/main" id="{A01ACD5E-F42A-40E5-8B7C-00A5C575E5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415" y="38964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3</a:t>
            </a:r>
          </a:p>
        </p:txBody>
      </p:sp>
      <p:sp>
        <p:nvSpPr>
          <p:cNvPr id="96" name="Text Placeholder 6">
            <a:extLst>
              <a:ext uri="{FF2B5EF4-FFF2-40B4-BE49-F238E27FC236}">
                <a16:creationId xmlns:a16="http://schemas.microsoft.com/office/drawing/2014/main" id="{2612354C-D3A8-4F0B-A62B-2D17249DFDB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415" y="4703026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4</a:t>
            </a:r>
          </a:p>
        </p:txBody>
      </p:sp>
      <p:sp>
        <p:nvSpPr>
          <p:cNvPr id="100" name="Text Placeholder 99">
            <a:extLst>
              <a:ext uri="{FF2B5EF4-FFF2-40B4-BE49-F238E27FC236}">
                <a16:creationId xmlns:a16="http://schemas.microsoft.com/office/drawing/2014/main" id="{F26204A4-94F4-4D0B-A32D-54BA8095E0E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3834" y="5450885"/>
            <a:ext cx="4058747" cy="673097"/>
          </a:xfrm>
          <a:custGeom>
            <a:avLst/>
            <a:gdLst>
              <a:gd name="connsiteX0" fmla="*/ 0 w 4058747"/>
              <a:gd name="connsiteY0" fmla="*/ 0 h 673097"/>
              <a:gd name="connsiteX1" fmla="*/ 4058747 w 4058747"/>
              <a:gd name="connsiteY1" fmla="*/ 0 h 673097"/>
              <a:gd name="connsiteX2" fmla="*/ 3728276 w 4058747"/>
              <a:gd name="connsiteY2" fmla="*/ 673097 h 673097"/>
              <a:gd name="connsiteX3" fmla="*/ 0 w 4058747"/>
              <a:gd name="connsiteY3" fmla="*/ 673097 h 673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8747" h="673097">
                <a:moveTo>
                  <a:pt x="0" y="0"/>
                </a:moveTo>
                <a:lnTo>
                  <a:pt x="4058747" y="0"/>
                </a:lnTo>
                <a:lnTo>
                  <a:pt x="3728276" y="673097"/>
                </a:lnTo>
                <a:lnTo>
                  <a:pt x="0" y="67309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92000" rIns="360000" anchor="ctr" anchorCtr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BC8A2927-6011-4622-A038-F2F7EAC093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891363" y="5450755"/>
            <a:ext cx="7852580" cy="673355"/>
          </a:xfrm>
          <a:custGeom>
            <a:avLst/>
            <a:gdLst>
              <a:gd name="connsiteX0" fmla="*/ 0 w 7852580"/>
              <a:gd name="connsiteY0" fmla="*/ 0 h 673355"/>
              <a:gd name="connsiteX1" fmla="*/ 7852580 w 7852580"/>
              <a:gd name="connsiteY1" fmla="*/ 0 h 673355"/>
              <a:gd name="connsiteX2" fmla="*/ 7852580 w 7852580"/>
              <a:gd name="connsiteY2" fmla="*/ 673355 h 673355"/>
              <a:gd name="connsiteX3" fmla="*/ 262449 w 7852580"/>
              <a:gd name="connsiteY3" fmla="*/ 673355 h 673355"/>
              <a:gd name="connsiteX4" fmla="*/ 593045 w 7852580"/>
              <a:gd name="connsiteY4" fmla="*/ 2 h 673355"/>
              <a:gd name="connsiteX5" fmla="*/ 0 w 7852580"/>
              <a:gd name="connsiteY5" fmla="*/ 2 h 67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2580" h="673355">
                <a:moveTo>
                  <a:pt x="0" y="0"/>
                </a:moveTo>
                <a:lnTo>
                  <a:pt x="7852580" y="0"/>
                </a:lnTo>
                <a:lnTo>
                  <a:pt x="7852580" y="673355"/>
                </a:lnTo>
                <a:lnTo>
                  <a:pt x="262449" y="673355"/>
                </a:lnTo>
                <a:lnTo>
                  <a:pt x="593045" y="2"/>
                </a:lnTo>
                <a:lnTo>
                  <a:pt x="0" y="2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0" scaled="1"/>
          </a:gradFill>
        </p:spPr>
        <p:txBody>
          <a:bodyPr vert="horz" wrap="square" lIns="936000" tIns="0" rIns="0" bIns="0" rtlCol="0" anchor="ctr" anchorCtr="0">
            <a:noAutofit/>
          </a:bodyPr>
          <a:lstStyle>
            <a:lvl1pPr>
              <a:defRPr lang="en-US" sz="12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7EA2F73C-E0F4-45B1-AB8F-530A19B4351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6415" y="5509627"/>
            <a:ext cx="502822" cy="555611"/>
          </a:xfrm>
          <a:prstGeom prst="rect">
            <a:avLst/>
          </a:prstGeom>
        </p:spPr>
        <p:txBody>
          <a:bodyPr vert="horz" wrap="square" lIns="0" tIns="45720" rIns="0" bIns="180000" rtlCol="0" anchor="ctr" anchorCtr="0">
            <a:noAutofit/>
          </a:bodyPr>
          <a:lstStyle>
            <a:lvl1pPr marL="0" indent="0" algn="ctr">
              <a:buNone/>
              <a:defRPr lang="en-US" sz="36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algn="ctr">
              <a:spcAft>
                <a:spcPts val="1200"/>
              </a:spcAft>
            </a:pPr>
            <a:r>
              <a:rPr lang="en-US"/>
              <a:t>5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9970848-F35F-47D3-8AA3-859BE30E97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FCE79156-B96F-4F0A-B2E6-29388CAA0C8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95460F8E-68BE-4EED-81CC-C73F28ABEB64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Footer Placeholder 3">
            <a:extLst>
              <a:ext uri="{FF2B5EF4-FFF2-40B4-BE49-F238E27FC236}">
                <a16:creationId xmlns:a16="http://schemas.microsoft.com/office/drawing/2014/main" id="{18AE67F5-F98A-4F06-BBD7-E2724C877E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36C93BA-B2DB-45DF-8168-9205478FAB4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084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file Overview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6390E544-F9C7-46B5-9967-B0184FCBF7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879880F-2137-47AB-9566-C8A09E1C8E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20775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4CCA4F3-8BB7-4518-8D07-F4EBBBD39F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1955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5A37B0B-0741-485F-996D-2A2215AD59C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18336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DB37BA3-47E7-413A-B0E7-2CD9DCDEE8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817119" y="2241550"/>
            <a:ext cx="1236048" cy="1740087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0" name="Title 3">
            <a:extLst>
              <a:ext uri="{FF2B5EF4-FFF2-40B4-BE49-F238E27FC236}">
                <a16:creationId xmlns:a16="http://schemas.microsoft.com/office/drawing/2014/main" id="{E38D729D-5227-49D7-9785-1DC1DF806F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3999" cy="990001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EB6EBEF1-2298-410B-9293-C27A9A420B8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EDF3697C-568B-4AA1-9EF3-9113E2541E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799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20E879FB-0ECA-4094-A26D-0870481E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1580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7" name="Text Placeholder 21">
            <a:extLst>
              <a:ext uri="{FF2B5EF4-FFF2-40B4-BE49-F238E27FC236}">
                <a16:creationId xmlns:a16="http://schemas.microsoft.com/office/drawing/2014/main" id="{CB7EAE9F-C1C2-4E54-947F-1DAF3E582D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0361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A12F1173-5541-4125-8BBE-11308C342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39143" y="4154937"/>
            <a:ext cx="2592000" cy="19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signation</a:t>
            </a:r>
          </a:p>
          <a:p>
            <a:pPr lvl="2"/>
            <a:r>
              <a:rPr lang="en-US"/>
              <a:t>Lorem ipsum dolor sit amet, consectetuer adipiscing elit. Maecenas porttitor congue massa. Fusce posuere, magna sed pulvinar ultricies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942C6F7-BF76-41F2-9314-4E67256E96B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74E6F3-834D-466B-90E1-E0AC0A9201E5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DD6F617-9647-465D-AF6F-DC346B767469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CB36714-818D-4C9A-A027-DF7559699983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C4FAD300-8076-4D37-8AE8-A3847079D0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F763012-A5D4-4F14-B146-970A28A8F8C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48608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D1040E6-DB8E-454F-A1C6-10E6553195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33084D-ACDD-6849-8479-977F2DBF36CB}"/>
              </a:ext>
            </a:extLst>
          </p:cNvPr>
          <p:cNvSpPr/>
          <p:nvPr/>
        </p:nvSpPr>
        <p:spPr>
          <a:xfrm rot="5400000">
            <a:off x="5215165" y="-3348040"/>
            <a:ext cx="1759270" cy="11304000"/>
          </a:xfrm>
          <a:prstGeom prst="rect">
            <a:avLst/>
          </a:prstGeom>
          <a:gradFill>
            <a:gsLst>
              <a:gs pos="27000">
                <a:schemeClr val="accent1">
                  <a:alpha val="5000"/>
                </a:schemeClr>
              </a:gs>
              <a:gs pos="90000">
                <a:schemeClr val="accent1">
                  <a:alpha val="5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DF5872F-F6BC-7841-B29A-4A0024AAA7BE}"/>
              </a:ext>
            </a:extLst>
          </p:cNvPr>
          <p:cNvCxnSpPr>
            <a:cxnSpLocks/>
          </p:cNvCxnSpPr>
          <p:nvPr/>
        </p:nvCxnSpPr>
        <p:spPr>
          <a:xfrm>
            <a:off x="466722" y="3166948"/>
            <a:ext cx="11304000" cy="0"/>
          </a:xfrm>
          <a:prstGeom prst="line">
            <a:avLst/>
          </a:prstGeom>
          <a:ln w="22225" cap="sq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  <a:gs pos="88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560374B-2FEC-4C35-99AB-CEDF599EA0B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34277" y="1512514"/>
            <a:ext cx="1723431" cy="1582892"/>
          </a:xfrm>
          <a:prstGeom prst="rect">
            <a:avLst/>
          </a:prstGeom>
          <a:blipFill>
            <a:blip r:embed="rId5"/>
            <a:stretch>
              <a:fillRect t="-13941" b="-37632"/>
            </a:stretch>
          </a:blipFill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3253B7-AD4B-4584-A3FB-5A39DAECC47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442947" y="1779999"/>
            <a:ext cx="3348000" cy="1260000"/>
          </a:xfrm>
        </p:spPr>
        <p:txBody>
          <a:bodyPr/>
          <a:lstStyle>
            <a:lvl1pPr marL="252000" indent="-25200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■"/>
              <a:defRPr sz="1200">
                <a:solidFill>
                  <a:schemeClr val="bg1"/>
                </a:solidFill>
              </a:defRPr>
            </a:lvl1pPr>
            <a:lvl2pPr marL="504000">
              <a:spcBef>
                <a:spcPts val="600"/>
              </a:spcBef>
              <a:buClr>
                <a:schemeClr val="bg1"/>
              </a:buClr>
              <a:buSzPct val="80000"/>
              <a:buFont typeface="Arial" panose="020B0604020202020204" pitchFamily="34" charset="0"/>
              <a:buChar char="►"/>
              <a:defRPr sz="1200">
                <a:solidFill>
                  <a:schemeClr val="bg1"/>
                </a:solidFill>
              </a:defRPr>
            </a:lvl2pPr>
            <a:lvl3pPr marL="756000">
              <a:spcBef>
                <a:spcPts val="3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1D7E15C-5201-465D-94F1-58DF8A2A3E3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971045" y="1779999"/>
            <a:ext cx="378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D9D017-591F-4130-B8A8-3B543BDE478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931142" y="1779999"/>
            <a:ext cx="180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FB4C1B4-E0BE-4F26-A448-A7CF52CEBC5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2799" y="3605213"/>
            <a:ext cx="381600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EAC7EFF-C2B4-45C5-B792-B039CBB5EE8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89832" y="3605213"/>
            <a:ext cx="431028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dirty="0" smtClean="0">
                <a:solidFill>
                  <a:schemeClr val="bg1"/>
                </a:solidFill>
              </a:defRPr>
            </a:lvl1pPr>
            <a:lvl2pPr>
              <a:defRPr lang="en-US" sz="1200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sz="1200" b="0" dirty="0" smtClean="0">
                <a:solidFill>
                  <a:schemeClr val="bg1"/>
                </a:solidFill>
              </a:defRPr>
            </a:lvl4pPr>
            <a:lvl5pPr>
              <a:defRPr lang="en-US" sz="1200" dirty="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4654698-0003-4FE3-ADA4-E7AF24A3611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9031144" y="3605214"/>
            <a:ext cx="2700000" cy="72759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dirty="0" smtClean="0">
                <a:solidFill>
                  <a:schemeClr val="bg1"/>
                </a:solidFill>
              </a:defRPr>
            </a:lvl1pPr>
            <a:lvl2pPr>
              <a:buNone/>
              <a:defRPr lang="en-US" sz="1200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sz="1200" b="0" dirty="0" smtClean="0">
                <a:solidFill>
                  <a:schemeClr val="bg1"/>
                </a:solidFill>
              </a:defRPr>
            </a:lvl4pPr>
            <a:lvl5pPr>
              <a:defRPr lang="en-US" sz="1200" dirty="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69140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2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F0F05FBA-A77C-4E16-B6B6-9D2CA0F1FD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3F65727-F472-4831-85B6-268C41ADA733}"/>
              </a:ext>
            </a:extLst>
          </p:cNvPr>
          <p:cNvCxnSpPr>
            <a:cxnSpLocks/>
          </p:cNvCxnSpPr>
          <p:nvPr/>
        </p:nvCxnSpPr>
        <p:spPr>
          <a:xfrm>
            <a:off x="442800" y="921289"/>
            <a:ext cx="11304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3B7DAD36-421A-5249-8BCD-4F8131E6D04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833BBB-E396-A344-B471-B947315AAE46}"/>
              </a:ext>
            </a:extLst>
          </p:cNvPr>
          <p:cNvSpPr/>
          <p:nvPr/>
        </p:nvSpPr>
        <p:spPr>
          <a:xfrm>
            <a:off x="442800" y="336514"/>
            <a:ext cx="1521570" cy="584775"/>
          </a:xfrm>
          <a:prstGeom prst="rect">
            <a:avLst/>
          </a:prstGeom>
        </p:spPr>
        <p:txBody>
          <a:bodyPr wrap="none" lIns="0" rIns="0">
            <a:no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3200" b="0" kern="120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Profile: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40B555E-319A-C849-A622-CA9E805CFF47}"/>
              </a:ext>
            </a:extLst>
          </p:cNvPr>
          <p:cNvSpPr/>
          <p:nvPr/>
        </p:nvSpPr>
        <p:spPr>
          <a:xfrm>
            <a:off x="442800" y="3314545"/>
            <a:ext cx="3816000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Focus industries and consulting experti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6DC9A5-9A55-5247-A440-C6F3E635C064}"/>
              </a:ext>
            </a:extLst>
          </p:cNvPr>
          <p:cNvSpPr/>
          <p:nvPr/>
        </p:nvSpPr>
        <p:spPr>
          <a:xfrm>
            <a:off x="4489832" y="3314545"/>
            <a:ext cx="43102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Project experience (selectio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B113D-ED25-E54F-8A13-BA592DCF1171}"/>
              </a:ext>
            </a:extLst>
          </p:cNvPr>
          <p:cNvSpPr/>
          <p:nvPr/>
        </p:nvSpPr>
        <p:spPr>
          <a:xfrm>
            <a:off x="9031144" y="3314545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ertifications/attainment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2BF8E54-FBBB-2045-AC58-610D9878529C}"/>
              </a:ext>
            </a:extLst>
          </p:cNvPr>
          <p:cNvSpPr/>
          <p:nvPr/>
        </p:nvSpPr>
        <p:spPr>
          <a:xfrm>
            <a:off x="9031144" y="4604339"/>
            <a:ext cx="27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Industry experi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71B91-92A2-5A4E-A8C3-5DB4829D97D6}"/>
              </a:ext>
            </a:extLst>
          </p:cNvPr>
          <p:cNvSpPr/>
          <p:nvPr/>
        </p:nvSpPr>
        <p:spPr>
          <a:xfrm>
            <a:off x="2445838" y="1504572"/>
            <a:ext cx="330932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45DF948-8092-334C-9F4C-C15A7407E3D9}"/>
              </a:ext>
            </a:extLst>
          </p:cNvPr>
          <p:cNvSpPr/>
          <p:nvPr/>
        </p:nvSpPr>
        <p:spPr>
          <a:xfrm>
            <a:off x="5971045" y="1504571"/>
            <a:ext cx="378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F41CA3-5513-FF4A-9A62-21ABC26BA626}"/>
              </a:ext>
            </a:extLst>
          </p:cNvPr>
          <p:cNvSpPr/>
          <p:nvPr/>
        </p:nvSpPr>
        <p:spPr>
          <a:xfrm>
            <a:off x="9931143" y="1504571"/>
            <a:ext cx="18000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b="1" kern="120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anguag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E6BED42-C452-A943-BC58-DEFB5FF0C467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940922" y="184652"/>
            <a:ext cx="1808166" cy="63349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logo</a:t>
            </a: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3578EB5A-E0BD-4218-90DF-665F221F1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28603" y="343569"/>
            <a:ext cx="7812317" cy="534829"/>
          </a:xfrm>
        </p:spPr>
        <p:txBody>
          <a:bodyPr vert="horz" lIns="0" tIns="45720" rIns="91440" bIns="45720" rtlCol="0" anchor="t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Name Surnam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A75B5BF4-47D5-4A18-8F1F-A3991A1797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9525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57" name="Tabellenplatzhalter 50">
            <a:extLst>
              <a:ext uri="{FF2B5EF4-FFF2-40B4-BE49-F238E27FC236}">
                <a16:creationId xmlns:a16="http://schemas.microsoft.com/office/drawing/2014/main" id="{D3BB84CF-4D3F-4BAF-AA82-4E42433C2F43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9031144" y="4922823"/>
            <a:ext cx="2700000" cy="127438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FF613CA-D767-4CEF-9488-BC7BAD49C94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2800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4D0F1EE-038A-408D-8E1E-3FC455A38DB1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E4BB152-A459-44BC-9E2C-DCAF8F6F7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303F9-44E1-4307-AC9F-379BF3BE72D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40" name="Picture Placeholder 16">
            <a:extLst>
              <a:ext uri="{FF2B5EF4-FFF2-40B4-BE49-F238E27FC236}">
                <a16:creationId xmlns:a16="http://schemas.microsoft.com/office/drawing/2014/main" id="{4E722CF8-E930-4BEA-A60F-E0E575C70C78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64302" y="155545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 w="15875">
            <a:solidFill>
              <a:schemeClr val="accent2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DE14A7-5854-400A-86FF-2487462EA52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442947" y="1779999"/>
            <a:ext cx="3348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5767480-49E3-435C-BB96-3B6BFE3DDF1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971045" y="1779999"/>
            <a:ext cx="378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9476E80-FC3E-4911-AEB1-E2D1DD08607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931142" y="1779999"/>
            <a:ext cx="1800000" cy="1260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33705BB-A763-40E5-B5E0-7FEDBC6BBA16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2799" y="3605213"/>
            <a:ext cx="381600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FF3360C-732E-4D01-AA8C-A329747680E7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489832" y="3605213"/>
            <a:ext cx="4310280" cy="2592000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9127438-5669-4BE6-8B97-A2FFD58A21F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031144" y="3605214"/>
            <a:ext cx="2700000" cy="72759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1200" smtClean="0">
                <a:solidFill>
                  <a:schemeClr val="bg1"/>
                </a:solidFill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z="1200" b="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52000" lvl="0" indent="-252000">
              <a:spcBef>
                <a:spcPts val="600"/>
              </a:spcBef>
              <a:buClr>
                <a:schemeClr val="bg1"/>
              </a:buClr>
              <a:buChar char="■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62371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32E7F5F-6DA6-47CB-9B20-9008A2928B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2777213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9409A921-69CE-4E73-8C64-4D322B88B0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65DC36-62B1-4EA9-8B58-1F8769E3773A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43259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adsho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8E90BAC-3030-4955-80B2-8C3BA1224B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20BDA3C6-2C55-4EC0-92A0-2FA57310BA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458151" y="1617885"/>
            <a:ext cx="1224430" cy="1298310"/>
          </a:xfrm>
          <a:prstGeom prst="rect">
            <a:avLst/>
          </a:prstGeom>
          <a:blipFill dpi="0" rotWithShape="1">
            <a:blip r:embed="rId5"/>
            <a:srcRect/>
            <a:stretch>
              <a:fillRect l="-9877" t="1" r="-9275" b="-5820"/>
            </a:stretch>
          </a:blipFill>
          <a:ln w="31750">
            <a:noFill/>
          </a:ln>
          <a:effectLst/>
        </p:spPr>
        <p:txBody>
          <a:bodyPr wrap="square" lIns="72000" anchor="t" anchorCtr="0">
            <a:noAutofit/>
          </a:bodyPr>
          <a:lstStyle>
            <a:lvl1pPr marL="0" indent="0" algn="l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Insert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B4BFA0FB-D432-426F-97B1-7818E2426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4762EA-DFCD-4F24-9797-407D63DA9174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6354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/ Hexagon Headsho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89E08BC-221A-4E1C-A353-29149A90C7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998ACE1-B2BD-4559-A3EA-6495E2577FB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211394" y="3451217"/>
            <a:ext cx="5769213" cy="990000"/>
          </a:xfrm>
          <a:noFill/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Quote he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CAB139-38DB-4D98-BB96-288968D1C2A3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49870" y="5038617"/>
            <a:ext cx="4630737" cy="385323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r">
              <a:buNone/>
              <a:defRPr sz="18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- Insert </a:t>
            </a:r>
            <a:r>
              <a:rPr lang="en-US" err="1"/>
              <a:t>quotee</a:t>
            </a:r>
            <a:r>
              <a:rPr lang="en-US"/>
              <a:t> name here</a:t>
            </a:r>
          </a:p>
        </p:txBody>
      </p:sp>
      <p:sp>
        <p:nvSpPr>
          <p:cNvPr id="22" name="Freeform: Shape 20">
            <a:extLst>
              <a:ext uri="{FF2B5EF4-FFF2-40B4-BE49-F238E27FC236}">
                <a16:creationId xmlns:a16="http://schemas.microsoft.com/office/drawing/2014/main" id="{4E56F746-5128-8344-92EF-C8553DF728B0}"/>
              </a:ext>
            </a:extLst>
          </p:cNvPr>
          <p:cNvSpPr/>
          <p:nvPr userDrawn="1"/>
        </p:nvSpPr>
        <p:spPr>
          <a:xfrm>
            <a:off x="0" y="4885278"/>
            <a:ext cx="4279900" cy="1972722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94250" h="2209800">
                <a:moveTo>
                  <a:pt x="3175" y="1114425"/>
                </a:moveTo>
                <a:lnTo>
                  <a:pt x="1622425" y="0"/>
                </a:lnTo>
                <a:lnTo>
                  <a:pt x="4794250" y="2209800"/>
                </a:lnTo>
                <a:lnTo>
                  <a:pt x="0" y="2209800"/>
                </a:lnTo>
                <a:cubicBezTo>
                  <a:pt x="1058" y="1844675"/>
                  <a:pt x="2117" y="1479550"/>
                  <a:pt x="3175" y="1114425"/>
                </a:cubicBez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116D7F24-9693-B74D-9B1F-938DD334325E}"/>
              </a:ext>
            </a:extLst>
          </p:cNvPr>
          <p:cNvSpPr/>
          <p:nvPr userDrawn="1"/>
        </p:nvSpPr>
        <p:spPr>
          <a:xfrm flipH="1">
            <a:off x="2172778" y="5367134"/>
            <a:ext cx="2407778" cy="1490867"/>
          </a:xfrm>
          <a:custGeom>
            <a:avLst/>
            <a:gdLst>
              <a:gd name="connsiteX0" fmla="*/ 2047137 w 2407778"/>
              <a:gd name="connsiteY0" fmla="*/ 0 h 1490867"/>
              <a:gd name="connsiteX1" fmla="*/ 0 w 2407778"/>
              <a:gd name="connsiteY1" fmla="*/ 1490867 h 1490867"/>
              <a:gd name="connsiteX2" fmla="*/ 772851 w 2407778"/>
              <a:gd name="connsiteY2" fmla="*/ 1490867 h 1490867"/>
              <a:gd name="connsiteX3" fmla="*/ 2407778 w 2407778"/>
              <a:gd name="connsiteY3" fmla="*/ 297069 h 1490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7778" h="1490867">
                <a:moveTo>
                  <a:pt x="2047137" y="0"/>
                </a:moveTo>
                <a:lnTo>
                  <a:pt x="0" y="1490867"/>
                </a:lnTo>
                <a:lnTo>
                  <a:pt x="772851" y="1490867"/>
                </a:lnTo>
                <a:lnTo>
                  <a:pt x="2407778" y="29706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F8BC3277-41B3-074B-82D6-ACF79987ACF4}"/>
              </a:ext>
            </a:extLst>
          </p:cNvPr>
          <p:cNvSpPr/>
          <p:nvPr userDrawn="1"/>
        </p:nvSpPr>
        <p:spPr>
          <a:xfrm>
            <a:off x="9463543" y="1"/>
            <a:ext cx="2735123" cy="2991743"/>
          </a:xfrm>
          <a:custGeom>
            <a:avLst/>
            <a:gdLst>
              <a:gd name="connsiteX0" fmla="*/ 0 w 2735123"/>
              <a:gd name="connsiteY0" fmla="*/ 0 h 2991743"/>
              <a:gd name="connsiteX1" fmla="*/ 2393842 w 2735123"/>
              <a:gd name="connsiteY1" fmla="*/ 0 h 2991743"/>
              <a:gd name="connsiteX2" fmla="*/ 2735123 w 2735123"/>
              <a:gd name="connsiteY2" fmla="*/ 10219 h 2991743"/>
              <a:gd name="connsiteX3" fmla="*/ 2728532 w 2735123"/>
              <a:gd name="connsiteY3" fmla="*/ 2991743 h 2991743"/>
              <a:gd name="connsiteX4" fmla="*/ 874640 w 2735123"/>
              <a:gd name="connsiteY4" fmla="*/ 1695436 h 2991743"/>
              <a:gd name="connsiteX5" fmla="*/ 1648771 w 2735123"/>
              <a:gd name="connsiteY5" fmla="*/ 1163301 h 2991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5123" h="2991743">
                <a:moveTo>
                  <a:pt x="0" y="0"/>
                </a:moveTo>
                <a:lnTo>
                  <a:pt x="2393842" y="0"/>
                </a:lnTo>
                <a:lnTo>
                  <a:pt x="2735123" y="10219"/>
                </a:lnTo>
                <a:lnTo>
                  <a:pt x="2728532" y="2991743"/>
                </a:lnTo>
                <a:lnTo>
                  <a:pt x="874640" y="1695436"/>
                </a:lnTo>
                <a:lnTo>
                  <a:pt x="1648771" y="1163301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727618F-32CF-3243-8057-AFF188524A86}"/>
              </a:ext>
            </a:extLst>
          </p:cNvPr>
          <p:cNvSpPr/>
          <p:nvPr userDrawn="1"/>
        </p:nvSpPr>
        <p:spPr>
          <a:xfrm>
            <a:off x="10337082" y="1512082"/>
            <a:ext cx="1854918" cy="2543796"/>
          </a:xfrm>
          <a:custGeom>
            <a:avLst/>
            <a:gdLst>
              <a:gd name="connsiteX0" fmla="*/ 1854918 w 1854918"/>
              <a:gd name="connsiteY0" fmla="*/ 0 h 2543796"/>
              <a:gd name="connsiteX1" fmla="*/ 1854918 w 1854918"/>
              <a:gd name="connsiteY1" fmla="*/ 2543796 h 2543796"/>
              <a:gd name="connsiteX2" fmla="*/ 0 w 1854918"/>
              <a:gd name="connsiteY2" fmla="*/ 1255203 h 2543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4918" h="2543796">
                <a:moveTo>
                  <a:pt x="1854918" y="0"/>
                </a:moveTo>
                <a:lnTo>
                  <a:pt x="1854918" y="2543796"/>
                </a:lnTo>
                <a:lnTo>
                  <a:pt x="0" y="1255203"/>
                </a:ln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B37650CE-A0E9-2A46-93CB-3BEAC2511C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DFB4B834-C56F-490A-BC1C-C54AB928B9E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561536" y="1518536"/>
            <a:ext cx="1063380" cy="1497008"/>
          </a:xfrm>
          <a:custGeom>
            <a:avLst/>
            <a:gdLst>
              <a:gd name="connsiteX0" fmla="*/ 618024 w 1236048"/>
              <a:gd name="connsiteY0" fmla="*/ 0 h 1740087"/>
              <a:gd name="connsiteX1" fmla="*/ 1236048 w 1236048"/>
              <a:gd name="connsiteY1" fmla="*/ 429737 h 1740087"/>
              <a:gd name="connsiteX2" fmla="*/ 1236048 w 1236048"/>
              <a:gd name="connsiteY2" fmla="*/ 1310350 h 1740087"/>
              <a:gd name="connsiteX3" fmla="*/ 618024 w 1236048"/>
              <a:gd name="connsiteY3" fmla="*/ 1740087 h 1740087"/>
              <a:gd name="connsiteX4" fmla="*/ 0 w 1236048"/>
              <a:gd name="connsiteY4" fmla="*/ 1310350 h 1740087"/>
              <a:gd name="connsiteX5" fmla="*/ 0 w 1236048"/>
              <a:gd name="connsiteY5" fmla="*/ 429737 h 1740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6048" h="1740087">
                <a:moveTo>
                  <a:pt x="618024" y="0"/>
                </a:moveTo>
                <a:lnTo>
                  <a:pt x="1236048" y="429737"/>
                </a:lnTo>
                <a:lnTo>
                  <a:pt x="1236048" y="1310350"/>
                </a:lnTo>
                <a:lnTo>
                  <a:pt x="618024" y="1740087"/>
                </a:lnTo>
                <a:lnTo>
                  <a:pt x="0" y="1310350"/>
                </a:lnTo>
                <a:lnTo>
                  <a:pt x="0" y="429737"/>
                </a:lnTo>
                <a:close/>
              </a:path>
            </a:pathLst>
          </a:custGeo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 w="15875">
            <a:solidFill>
              <a:srgbClr val="00AECF"/>
            </a:solidFill>
          </a:ln>
          <a:effectLst>
            <a:innerShdw blurRad="88900" dist="50800" dir="13500000">
              <a:prstClr val="black">
                <a:alpha val="50000"/>
              </a:prst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1CF07C63-A834-4BF2-9FCB-33E559B5F4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B678BD-E31D-4A5B-A4E4-810EC221D82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8087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6ECA7B-CD40-42BA-AF71-AFCBFCDB44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B9B8EA-2AC0-486B-955D-5AFD90844E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E7F6BA-6FF3-4807-A992-128446656EBE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3491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A67C8A7-566E-6245-9CD3-9765B4FA66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800" y="1366979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24EB0EA-8635-6443-A050-B3327AB273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5360" y="1392819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1D83DD92-09D1-EE43-BC80-83A0DE3D952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FBCBEE40-2AEA-476A-BD9F-C1BB81200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417059"/>
            <a:ext cx="5049102" cy="57044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Agenda</a:t>
            </a:r>
            <a:endParaRPr lang="en-GB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BB72AD8-123F-41E4-AA6D-10D40E0974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2800" y="2146908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6CA4F9AE-634E-4C58-9C8D-2B1FAD50BD7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15360" y="2172748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AB83DAD6-F2E4-42E1-A4EE-C687615A3E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800" y="2899597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90EDD940-259E-4829-8E35-E18B2D80EE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5360" y="2925437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9802C2BE-B1B2-4E86-82FE-3D0646E918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2800" y="367952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18EBD071-CF30-4469-9F10-CB42C7916F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15360" y="370536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B3C1887B-BFF0-4968-B8C3-0F83E66524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2800" y="4434106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AA1582F3-1BA9-4358-BFE5-9640A017A06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15360" y="4459946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1D0E6C05-C89A-499C-9021-D2FEEC605C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800" y="5214035"/>
            <a:ext cx="272470" cy="375681"/>
          </a:xfrm>
          <a:custGeom>
            <a:avLst/>
            <a:gdLst>
              <a:gd name="connsiteX0" fmla="*/ 135118 w 272470"/>
              <a:gd name="connsiteY0" fmla="*/ 0 h 375681"/>
              <a:gd name="connsiteX1" fmla="*/ 272470 w 272470"/>
              <a:gd name="connsiteY1" fmla="*/ 95583 h 375681"/>
              <a:gd name="connsiteX2" fmla="*/ 272470 w 272470"/>
              <a:gd name="connsiteY2" fmla="*/ 282314 h 375681"/>
              <a:gd name="connsiteX3" fmla="*/ 136235 w 272470"/>
              <a:gd name="connsiteY3" fmla="*/ 375681 h 375681"/>
              <a:gd name="connsiteX4" fmla="*/ 0 w 272470"/>
              <a:gd name="connsiteY4" fmla="*/ 283423 h 375681"/>
              <a:gd name="connsiteX5" fmla="*/ 0 w 272470"/>
              <a:gd name="connsiteY5" fmla="*/ 95583 h 375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2470" h="375681">
                <a:moveTo>
                  <a:pt x="135118" y="0"/>
                </a:moveTo>
                <a:lnTo>
                  <a:pt x="272470" y="95583"/>
                </a:lnTo>
                <a:lnTo>
                  <a:pt x="272470" y="282314"/>
                </a:lnTo>
                <a:lnTo>
                  <a:pt x="136235" y="375681"/>
                </a:lnTo>
                <a:lnTo>
                  <a:pt x="0" y="283423"/>
                </a:lnTo>
                <a:lnTo>
                  <a:pt x="0" y="9558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C9F730AD-E09A-4443-8E8F-D5734BB2D7E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15360" y="5239875"/>
            <a:ext cx="4494486" cy="32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2"/>
                </a:solidFill>
                <a:latin typeface="+mn-lt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28">
            <a:extLst>
              <a:ext uri="{FF2B5EF4-FFF2-40B4-BE49-F238E27FC236}">
                <a16:creationId xmlns:a16="http://schemas.microsoft.com/office/drawing/2014/main" id="{53D3D8CF-E605-4768-9603-689E5785C0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05400" y="1"/>
            <a:ext cx="6986601" cy="4853941"/>
          </a:xfrm>
          <a:custGeom>
            <a:avLst/>
            <a:gdLst>
              <a:gd name="connsiteX0" fmla="*/ 0 w 6986601"/>
              <a:gd name="connsiteY0" fmla="*/ 0 h 4853941"/>
              <a:gd name="connsiteX1" fmla="*/ 5002307 w 6986601"/>
              <a:gd name="connsiteY1" fmla="*/ 0 h 4853941"/>
              <a:gd name="connsiteX2" fmla="*/ 6986601 w 6986601"/>
              <a:gd name="connsiteY2" fmla="*/ 1372945 h 4853941"/>
              <a:gd name="connsiteX3" fmla="*/ 6986601 w 6986601"/>
              <a:gd name="connsiteY3" fmla="*/ 4853941 h 4853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6601" h="4853941">
                <a:moveTo>
                  <a:pt x="0" y="0"/>
                </a:moveTo>
                <a:lnTo>
                  <a:pt x="5002307" y="0"/>
                </a:lnTo>
                <a:lnTo>
                  <a:pt x="6986601" y="1372945"/>
                </a:lnTo>
                <a:lnTo>
                  <a:pt x="6986601" y="4853941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1080000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0447E7-2370-40EB-9592-91B302D0C28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20A95C-EC8F-41D4-AF1A-5BAA8A39A130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8C5B83D-D9AA-4B70-AD78-85BFC25F5E85}"/>
              </a:ext>
            </a:extLst>
          </p:cNvPr>
          <p:cNvSpPr/>
          <p:nvPr userDrawn="1"/>
        </p:nvSpPr>
        <p:spPr>
          <a:xfrm rot="4191016">
            <a:off x="483992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4700A33-6DF5-4783-B61A-C9245483BD6A}"/>
              </a:ext>
            </a:extLst>
          </p:cNvPr>
          <p:cNvSpPr/>
          <p:nvPr userDrawn="1"/>
        </p:nvSpPr>
        <p:spPr>
          <a:xfrm flipH="1">
            <a:off x="9184940" y="3117122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4" name="Freeform: Shape 18">
            <a:extLst>
              <a:ext uri="{FF2B5EF4-FFF2-40B4-BE49-F238E27FC236}">
                <a16:creationId xmlns:a16="http://schemas.microsoft.com/office/drawing/2014/main" id="{3EA723EF-E362-4384-AE04-AB89112E4BC0}"/>
              </a:ext>
            </a:extLst>
          </p:cNvPr>
          <p:cNvSpPr/>
          <p:nvPr userDrawn="1"/>
        </p:nvSpPr>
        <p:spPr>
          <a:xfrm rot="4191016">
            <a:off x="10193741" y="-235643"/>
            <a:ext cx="2181945" cy="1879451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8884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8884" y="724009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6"/>
              </a:gs>
              <a:gs pos="85000">
                <a:schemeClr val="accent6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3594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xagon Graphic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C3BF6C42-748F-4DB3-B568-4B9DC8FC37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98EA4DB-4218-498A-AEC4-23CC43FE457F}"/>
              </a:ext>
            </a:extLst>
          </p:cNvPr>
          <p:cNvSpPr/>
          <p:nvPr userDrawn="1"/>
        </p:nvSpPr>
        <p:spPr>
          <a:xfrm>
            <a:off x="4490359" y="2049775"/>
            <a:ext cx="1592941" cy="1808204"/>
          </a:xfrm>
          <a:custGeom>
            <a:avLst/>
            <a:gdLst>
              <a:gd name="connsiteX0" fmla="*/ 1606503 w 1592941"/>
              <a:gd name="connsiteY0" fmla="*/ 0 h 1808203"/>
              <a:gd name="connsiteX1" fmla="*/ 1606503 w 1592941"/>
              <a:gd name="connsiteY1" fmla="*/ 1358090 h 1808203"/>
              <a:gd name="connsiteX2" fmla="*/ 972555 w 1592941"/>
              <a:gd name="connsiteY2" fmla="*/ 1804114 h 1808203"/>
              <a:gd name="connsiteX3" fmla="*/ 972555 w 1592941"/>
              <a:gd name="connsiteY3" fmla="*/ 1809065 h 1808203"/>
              <a:gd name="connsiteX4" fmla="*/ 0 w 1592941"/>
              <a:gd name="connsiteY4" fmla="*/ 1130127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2941" h="1808203">
                <a:moveTo>
                  <a:pt x="1606503" y="0"/>
                </a:moveTo>
                <a:lnTo>
                  <a:pt x="1606503" y="1358090"/>
                </a:lnTo>
                <a:lnTo>
                  <a:pt x="972555" y="1804114"/>
                </a:lnTo>
                <a:lnTo>
                  <a:pt x="972555" y="1809065"/>
                </a:lnTo>
                <a:lnTo>
                  <a:pt x="0" y="1130127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68B9C2E-6668-4C07-95F1-CB22EEC5D65E}"/>
              </a:ext>
            </a:extLst>
          </p:cNvPr>
          <p:cNvSpPr/>
          <p:nvPr userDrawn="1"/>
        </p:nvSpPr>
        <p:spPr>
          <a:xfrm>
            <a:off x="6096862" y="2046977"/>
            <a:ext cx="1614467" cy="1808204"/>
          </a:xfrm>
          <a:custGeom>
            <a:avLst/>
            <a:gdLst>
              <a:gd name="connsiteX0" fmla="*/ 1615113 w 1614467"/>
              <a:gd name="connsiteY0" fmla="*/ 1138953 h 1808203"/>
              <a:gd name="connsiteX1" fmla="*/ 1615113 w 1614467"/>
              <a:gd name="connsiteY1" fmla="*/ 1139168 h 1808203"/>
              <a:gd name="connsiteX2" fmla="*/ 633947 w 1614467"/>
              <a:gd name="connsiteY2" fmla="*/ 1818321 h 1808203"/>
              <a:gd name="connsiteX3" fmla="*/ 633947 w 1614467"/>
              <a:gd name="connsiteY3" fmla="*/ 1806912 h 1808203"/>
              <a:gd name="connsiteX4" fmla="*/ 1507 w 1614467"/>
              <a:gd name="connsiteY4" fmla="*/ 1359812 h 1808203"/>
              <a:gd name="connsiteX5" fmla="*/ 0 w 1614467"/>
              <a:gd name="connsiteY5" fmla="*/ 1360889 h 1808203"/>
              <a:gd name="connsiteX6" fmla="*/ 0 w 1614467"/>
              <a:gd name="connsiteY6" fmla="*/ 2798 h 1808203"/>
              <a:gd name="connsiteX7" fmla="*/ 3875 w 1614467"/>
              <a:gd name="connsiteY7" fmla="*/ 0 h 180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14467" h="1808203">
                <a:moveTo>
                  <a:pt x="1615113" y="1138953"/>
                </a:moveTo>
                <a:lnTo>
                  <a:pt x="1615113" y="1139168"/>
                </a:lnTo>
                <a:lnTo>
                  <a:pt x="633947" y="1818321"/>
                </a:lnTo>
                <a:lnTo>
                  <a:pt x="633947" y="1806912"/>
                </a:lnTo>
                <a:lnTo>
                  <a:pt x="1507" y="1359812"/>
                </a:lnTo>
                <a:lnTo>
                  <a:pt x="0" y="1360889"/>
                </a:lnTo>
                <a:lnTo>
                  <a:pt x="0" y="2798"/>
                </a:lnTo>
                <a:lnTo>
                  <a:pt x="3875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42C4371-8AB2-4223-BBB9-9B8FF4C11085}"/>
              </a:ext>
            </a:extLst>
          </p:cNvPr>
          <p:cNvSpPr/>
          <p:nvPr userDrawn="1"/>
        </p:nvSpPr>
        <p:spPr>
          <a:xfrm>
            <a:off x="6722414" y="3186145"/>
            <a:ext cx="968680" cy="2238728"/>
          </a:xfrm>
          <a:custGeom>
            <a:avLst/>
            <a:gdLst>
              <a:gd name="connsiteX0" fmla="*/ 989561 w 968680"/>
              <a:gd name="connsiteY0" fmla="*/ 0 h 2238728"/>
              <a:gd name="connsiteX1" fmla="*/ 989561 w 968680"/>
              <a:gd name="connsiteY1" fmla="*/ 2238083 h 2238728"/>
              <a:gd name="connsiteX2" fmla="*/ 986117 w 968680"/>
              <a:gd name="connsiteY2" fmla="*/ 2240451 h 2238728"/>
              <a:gd name="connsiteX3" fmla="*/ 0 w 968680"/>
              <a:gd name="connsiteY3" fmla="*/ 1552041 h 2238728"/>
              <a:gd name="connsiteX4" fmla="*/ 8395 w 968680"/>
              <a:gd name="connsiteY4" fmla="*/ 1546229 h 2238728"/>
              <a:gd name="connsiteX5" fmla="*/ 8395 w 968680"/>
              <a:gd name="connsiteY5" fmla="*/ 679153 h 2238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8680" h="2238728">
                <a:moveTo>
                  <a:pt x="989561" y="0"/>
                </a:moveTo>
                <a:lnTo>
                  <a:pt x="989561" y="2238083"/>
                </a:lnTo>
                <a:lnTo>
                  <a:pt x="986117" y="2240451"/>
                </a:lnTo>
                <a:lnTo>
                  <a:pt x="0" y="1552041"/>
                </a:lnTo>
                <a:lnTo>
                  <a:pt x="8395" y="1546229"/>
                </a:lnTo>
                <a:lnTo>
                  <a:pt x="8395" y="679153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4ECC8C-1257-4D1B-B1F3-8689EED79010}"/>
              </a:ext>
            </a:extLst>
          </p:cNvPr>
          <p:cNvSpPr/>
          <p:nvPr userDrawn="1"/>
        </p:nvSpPr>
        <p:spPr>
          <a:xfrm>
            <a:off x="6096862" y="4738186"/>
            <a:ext cx="1592941" cy="1765151"/>
          </a:xfrm>
          <a:custGeom>
            <a:avLst/>
            <a:gdLst>
              <a:gd name="connsiteX0" fmla="*/ 1611669 w 1592941"/>
              <a:gd name="connsiteY0" fmla="*/ 688409 h 1765151"/>
              <a:gd name="connsiteX1" fmla="*/ 0 w 1592941"/>
              <a:gd name="connsiteY1" fmla="*/ 1785386 h 1765151"/>
              <a:gd name="connsiteX2" fmla="*/ 0 w 1592941"/>
              <a:gd name="connsiteY2" fmla="*/ 425574 h 1765151"/>
              <a:gd name="connsiteX3" fmla="*/ 625552 w 1592941"/>
              <a:gd name="connsiteY3" fmla="*/ 0 h 176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65151">
                <a:moveTo>
                  <a:pt x="1611669" y="688409"/>
                </a:moveTo>
                <a:lnTo>
                  <a:pt x="0" y="1785386"/>
                </a:lnTo>
                <a:lnTo>
                  <a:pt x="0" y="425574"/>
                </a:lnTo>
                <a:lnTo>
                  <a:pt x="625552" y="0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D7F8349-ACC4-4383-99B6-33AAF0248346}"/>
              </a:ext>
            </a:extLst>
          </p:cNvPr>
          <p:cNvSpPr/>
          <p:nvPr userDrawn="1"/>
        </p:nvSpPr>
        <p:spPr>
          <a:xfrm>
            <a:off x="4489713" y="4734957"/>
            <a:ext cx="1592941" cy="1786677"/>
          </a:xfrm>
          <a:custGeom>
            <a:avLst/>
            <a:gdLst>
              <a:gd name="connsiteX0" fmla="*/ 1607149 w 1592941"/>
              <a:gd name="connsiteY0" fmla="*/ 428803 h 1786677"/>
              <a:gd name="connsiteX1" fmla="*/ 1607149 w 1592941"/>
              <a:gd name="connsiteY1" fmla="*/ 1788615 h 1786677"/>
              <a:gd name="connsiteX2" fmla="*/ 0 w 1592941"/>
              <a:gd name="connsiteY2" fmla="*/ 681521 h 1786677"/>
              <a:gd name="connsiteX3" fmla="*/ 984610 w 1592941"/>
              <a:gd name="connsiteY3" fmla="*/ 0 h 1786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2941" h="1786677">
                <a:moveTo>
                  <a:pt x="1607149" y="428803"/>
                </a:moveTo>
                <a:lnTo>
                  <a:pt x="1607149" y="1788615"/>
                </a:lnTo>
                <a:lnTo>
                  <a:pt x="0" y="681521"/>
                </a:lnTo>
                <a:lnTo>
                  <a:pt x="984610" y="0"/>
                </a:lnTo>
                <a:close/>
              </a:path>
            </a:pathLst>
          </a:custGeom>
          <a:solidFill>
            <a:schemeClr val="accent1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1F91A86-A4FE-4EEA-95A9-ABA2D725D4B1}"/>
              </a:ext>
            </a:extLst>
          </p:cNvPr>
          <p:cNvSpPr/>
          <p:nvPr userDrawn="1"/>
        </p:nvSpPr>
        <p:spPr>
          <a:xfrm>
            <a:off x="4481748" y="3179902"/>
            <a:ext cx="990207" cy="2217202"/>
          </a:xfrm>
          <a:custGeom>
            <a:avLst/>
            <a:gdLst>
              <a:gd name="connsiteX0" fmla="*/ 992575 w 990206"/>
              <a:gd name="connsiteY0" fmla="*/ 1555055 h 2217202"/>
              <a:gd name="connsiteX1" fmla="*/ 7965 w 990206"/>
              <a:gd name="connsiteY1" fmla="*/ 2236576 h 2217202"/>
              <a:gd name="connsiteX2" fmla="*/ 0 w 990206"/>
              <a:gd name="connsiteY2" fmla="*/ 2231194 h 2217202"/>
              <a:gd name="connsiteX3" fmla="*/ 0 w 990206"/>
              <a:gd name="connsiteY3" fmla="*/ 6027 h 2217202"/>
              <a:gd name="connsiteX4" fmla="*/ 8610 w 990206"/>
              <a:gd name="connsiteY4" fmla="*/ 0 h 2217202"/>
              <a:gd name="connsiteX5" fmla="*/ 981166 w 990206"/>
              <a:gd name="connsiteY5" fmla="*/ 678937 h 2217202"/>
              <a:gd name="connsiteX6" fmla="*/ 981166 w 990206"/>
              <a:gd name="connsiteY6" fmla="*/ 1547091 h 22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206" h="2217202">
                <a:moveTo>
                  <a:pt x="992575" y="1555055"/>
                </a:moveTo>
                <a:lnTo>
                  <a:pt x="7965" y="2236576"/>
                </a:lnTo>
                <a:lnTo>
                  <a:pt x="0" y="2231194"/>
                </a:lnTo>
                <a:lnTo>
                  <a:pt x="0" y="6027"/>
                </a:lnTo>
                <a:lnTo>
                  <a:pt x="8610" y="0"/>
                </a:lnTo>
                <a:lnTo>
                  <a:pt x="981166" y="678937"/>
                </a:lnTo>
                <a:lnTo>
                  <a:pt x="981166" y="1547091"/>
                </a:lnTo>
                <a:close/>
              </a:path>
            </a:pathLst>
          </a:custGeom>
          <a:solidFill>
            <a:schemeClr val="accent2"/>
          </a:solidFill>
          <a:ln w="21510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/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 userDrawn="1"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9C2C73CC-7BBA-4AB5-9F31-7A9948DD02C7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0" name="Text Placeholder 22">
            <a:extLst>
              <a:ext uri="{FF2B5EF4-FFF2-40B4-BE49-F238E27FC236}">
                <a16:creationId xmlns:a16="http://schemas.microsoft.com/office/drawing/2014/main" id="{ACF8BC36-C25E-4E14-81DD-43E6AD7F43E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2799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47" name="Text Placeholder 22">
            <a:extLst>
              <a:ext uri="{FF2B5EF4-FFF2-40B4-BE49-F238E27FC236}">
                <a16:creationId xmlns:a16="http://schemas.microsoft.com/office/drawing/2014/main" id="{8ED2000C-3948-4295-8AB2-77B8EA5FC36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442799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49" name="Text Placeholder 22">
            <a:extLst>
              <a:ext uri="{FF2B5EF4-FFF2-40B4-BE49-F238E27FC236}">
                <a16:creationId xmlns:a16="http://schemas.microsoft.com/office/drawing/2014/main" id="{CAEC8480-4C52-4DF4-9AA5-B6002C4CF189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442799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0" name="Text Placeholder 22">
            <a:extLst>
              <a:ext uri="{FF2B5EF4-FFF2-40B4-BE49-F238E27FC236}">
                <a16:creationId xmlns:a16="http://schemas.microsoft.com/office/drawing/2014/main" id="{CC93A6C9-814A-45DA-9A94-78668198253B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442799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1" name="Text Placeholder 22">
            <a:extLst>
              <a:ext uri="{FF2B5EF4-FFF2-40B4-BE49-F238E27FC236}">
                <a16:creationId xmlns:a16="http://schemas.microsoft.com/office/drawing/2014/main" id="{BCC769DA-6390-4C7E-A4D7-0169214C1BD0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442799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2" name="Text Placeholder 22">
            <a:extLst>
              <a:ext uri="{FF2B5EF4-FFF2-40B4-BE49-F238E27FC236}">
                <a16:creationId xmlns:a16="http://schemas.microsoft.com/office/drawing/2014/main" id="{17FB0337-BD14-4336-B29B-3DCE71A60C79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8316410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663F0B75-7DCF-4676-8D96-0F13787305EA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8316410" y="2430780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772D1169-69D6-46E6-8422-F6D62FEC420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8316410" y="3620123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325DA6B-3F84-4F11-8E5F-18FF0C5E2C04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8316410" y="3977537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69" name="Text Placeholder 22">
            <a:extLst>
              <a:ext uri="{FF2B5EF4-FFF2-40B4-BE49-F238E27FC236}">
                <a16:creationId xmlns:a16="http://schemas.microsoft.com/office/drawing/2014/main" id="{F3D91CB9-9423-4706-8307-13B75842526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8316410" y="5173980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70" name="Text Placeholder 22">
            <a:extLst>
              <a:ext uri="{FF2B5EF4-FFF2-40B4-BE49-F238E27FC236}">
                <a16:creationId xmlns:a16="http://schemas.microsoft.com/office/drawing/2014/main" id="{BBDBFD81-3F25-45C4-931C-C83C44642FA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8316410" y="5531394"/>
            <a:ext cx="3429000" cy="864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71" name="Text Placeholder 22">
            <a:extLst>
              <a:ext uri="{FF2B5EF4-FFF2-40B4-BE49-F238E27FC236}">
                <a16:creationId xmlns:a16="http://schemas.microsoft.com/office/drawing/2014/main" id="{8AF38639-9E42-4E6E-B553-2E71FACE72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 rot="19506392">
            <a:off x="4707211" y="2532499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2" name="Text Placeholder 22">
            <a:extLst>
              <a:ext uri="{FF2B5EF4-FFF2-40B4-BE49-F238E27FC236}">
                <a16:creationId xmlns:a16="http://schemas.microsoft.com/office/drawing/2014/main" id="{79D5FF8B-3DD9-4FCF-BC25-11B5B708C5C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 rot="2116930">
            <a:off x="5943838" y="252371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3" name="Text Placeholder 22">
            <a:extLst>
              <a:ext uri="{FF2B5EF4-FFF2-40B4-BE49-F238E27FC236}">
                <a16:creationId xmlns:a16="http://schemas.microsoft.com/office/drawing/2014/main" id="{D62B37A5-61DE-4BC5-AC73-372745F00D3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 rot="5400000">
            <a:off x="6525291" y="3822312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4" name="Text Placeholder 22">
            <a:extLst>
              <a:ext uri="{FF2B5EF4-FFF2-40B4-BE49-F238E27FC236}">
                <a16:creationId xmlns:a16="http://schemas.microsoft.com/office/drawing/2014/main" id="{BF3E3C32-F259-4D5B-A786-01B702121B05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 rot="19561147">
            <a:off x="5958993" y="5100396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5" name="Text Placeholder 22">
            <a:extLst>
              <a:ext uri="{FF2B5EF4-FFF2-40B4-BE49-F238E27FC236}">
                <a16:creationId xmlns:a16="http://schemas.microsoft.com/office/drawing/2014/main" id="{C177F396-C670-417E-A13A-5F5DC906BB47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 rot="2089401">
            <a:off x="4714637" y="5104414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6" name="Text Placeholder 22">
            <a:extLst>
              <a:ext uri="{FF2B5EF4-FFF2-40B4-BE49-F238E27FC236}">
                <a16:creationId xmlns:a16="http://schemas.microsoft.com/office/drawing/2014/main" id="{4B383110-BE85-43CD-BC20-B568C760864C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 rot="16200000">
            <a:off x="4110812" y="3845473"/>
            <a:ext cx="1543050" cy="986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1272E3C2-33B0-42F0-98CB-8C8C243BF377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6052DF19-9D96-4A54-8FA3-46C146C0B5F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F5943707-01DA-43C9-BA1F-E7EE0E7D235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2" name="Footer Placeholder 3">
            <a:extLst>
              <a:ext uri="{FF2B5EF4-FFF2-40B4-BE49-F238E27FC236}">
                <a16:creationId xmlns:a16="http://schemas.microsoft.com/office/drawing/2014/main" id="{70C02C76-34C0-477D-9B7A-973364A4E2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5A932B5-1139-4503-A7E7-6CD9AAADD06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6732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hombus Graphic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D731281-34B6-477C-8891-B04CE72827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10E4203-08E6-4418-AD09-B8D9334C0A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450" y="1905000"/>
            <a:ext cx="4229100" cy="4393282"/>
          </a:xfrm>
          <a:prstGeom prst="rect">
            <a:avLst/>
          </a:prstGeom>
        </p:spPr>
      </p:pic>
      <p:sp>
        <p:nvSpPr>
          <p:cNvPr id="109" name="Text Placeholder 22">
            <a:extLst>
              <a:ext uri="{FF2B5EF4-FFF2-40B4-BE49-F238E27FC236}">
                <a16:creationId xmlns:a16="http://schemas.microsoft.com/office/drawing/2014/main" id="{FBCEB81F-942E-4E7A-BE5F-A71E6B6C7C8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9531667">
            <a:off x="6418611" y="4299467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4" name="Text Placeholder 22">
            <a:extLst>
              <a:ext uri="{FF2B5EF4-FFF2-40B4-BE49-F238E27FC236}">
                <a16:creationId xmlns:a16="http://schemas.microsoft.com/office/drawing/2014/main" id="{5739B760-04F1-4E96-9625-86162A24023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 rot="2012338">
            <a:off x="4209576" y="4269079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9909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05233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7" name="Text Placeholder 22">
            <a:extLst>
              <a:ext uri="{FF2B5EF4-FFF2-40B4-BE49-F238E27FC236}">
                <a16:creationId xmlns:a16="http://schemas.microsoft.com/office/drawing/2014/main" id="{474ED7E6-58E4-4601-9048-F4C3A2B3CCD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2090804">
            <a:off x="6086947" y="265589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sp>
        <p:nvSpPr>
          <p:cNvPr id="57" name="Text Placeholder 22">
            <a:extLst>
              <a:ext uri="{FF2B5EF4-FFF2-40B4-BE49-F238E27FC236}">
                <a16:creationId xmlns:a16="http://schemas.microsoft.com/office/drawing/2014/main" id="{62163FF3-A63D-42A2-B8D8-9D1C745B05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 rot="19584229">
            <a:off x="4526147" y="2699113"/>
            <a:ext cx="1543050" cy="98685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Lorem ipsum dolor sit</a:t>
            </a:r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430779"/>
            <a:ext cx="3429000" cy="1512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073366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F71D921D-E815-F843-8D83-B6C3C16439D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F03B141-FBCC-436D-AD9E-F8C15119CD63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70AE0952-39FD-4454-AAE2-8F8D40805849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166203CE-87B2-4997-9914-45C7469F3E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BF824F2-B806-4A94-975B-1090A135866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837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quares Graphic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C2918B75-A044-442E-B62C-FF384773B1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236ECACE-04EC-47DB-846A-29FC6D87FAE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Text Placeholder 22">
            <a:extLst>
              <a:ext uri="{FF2B5EF4-FFF2-40B4-BE49-F238E27FC236}">
                <a16:creationId xmlns:a16="http://schemas.microsoft.com/office/drawing/2014/main" id="{593B0717-10AC-4D8A-AC3E-9AE47978085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332196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8" name="Text Placeholder 22">
            <a:extLst>
              <a:ext uri="{FF2B5EF4-FFF2-40B4-BE49-F238E27FC236}">
                <a16:creationId xmlns:a16="http://schemas.microsoft.com/office/drawing/2014/main" id="{F4A672A1-DF33-4339-9EF7-E3C45D01E8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27895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102" name="Text Placeholder 22">
            <a:extLst>
              <a:ext uri="{FF2B5EF4-FFF2-40B4-BE49-F238E27FC236}">
                <a16:creationId xmlns:a16="http://schemas.microsoft.com/office/drawing/2014/main" id="{C2EE9E2F-F363-41F8-ADFC-EBD072BF96B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42799" y="4246307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</a:p>
        </p:txBody>
      </p:sp>
      <p:sp>
        <p:nvSpPr>
          <p:cNvPr id="103" name="Text Placeholder 22">
            <a:extLst>
              <a:ext uri="{FF2B5EF4-FFF2-40B4-BE49-F238E27FC236}">
                <a16:creationId xmlns:a16="http://schemas.microsoft.com/office/drawing/2014/main" id="{3D6F4B72-C43F-4B3C-ABB9-9CEEE786660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799" y="4678307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6" name="Text Placeholder 22">
            <a:extLst>
              <a:ext uri="{FF2B5EF4-FFF2-40B4-BE49-F238E27FC236}">
                <a16:creationId xmlns:a16="http://schemas.microsoft.com/office/drawing/2014/main" id="{50A1ADE9-2549-4891-9B36-D502692420A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32196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95" name="Text Placeholder 22">
            <a:extLst>
              <a:ext uri="{FF2B5EF4-FFF2-40B4-BE49-F238E27FC236}">
                <a16:creationId xmlns:a16="http://schemas.microsoft.com/office/drawing/2014/main" id="{AB8EFFC8-24E8-432B-ABA7-F06504E127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332196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6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6" name="Text Placeholder 22">
            <a:extLst>
              <a:ext uri="{FF2B5EF4-FFF2-40B4-BE49-F238E27FC236}">
                <a16:creationId xmlns:a16="http://schemas.microsoft.com/office/drawing/2014/main" id="{C634C98C-2B5D-422B-A0BD-272C413DE5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799" y="2664878"/>
            <a:ext cx="3429000" cy="14400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300" b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</a:t>
            </a:r>
          </a:p>
        </p:txBody>
      </p:sp>
      <p:sp>
        <p:nvSpPr>
          <p:cNvPr id="55" name="Text Placeholder 22">
            <a:extLst>
              <a:ext uri="{FF2B5EF4-FFF2-40B4-BE49-F238E27FC236}">
                <a16:creationId xmlns:a16="http://schemas.microsoft.com/office/drawing/2014/main" id="{3BF591C3-ADE9-4134-8B02-CAB23C94CB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799" y="2232878"/>
            <a:ext cx="3429000" cy="304801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1200"/>
              </a:spcAft>
              <a:buClr>
                <a:srgbClr val="FF545F"/>
              </a:buClr>
              <a:buFont typeface="Arial" panose="020B0604020202020204" pitchFamily="34" charset="0"/>
              <a:buNone/>
              <a:defRPr sz="1600" b="1">
                <a:solidFill>
                  <a:schemeClr val="accent2"/>
                </a:solidFill>
                <a:latin typeface="+mj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4A622850-460D-49C9-AA98-72BC2DF6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9ACE5228-E42C-4767-9300-5CF463D0913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5932FE3-8F5C-4BA9-985F-B47DD345C519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6B5300-F1CB-4EEB-8CC9-08A24B4A917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088657" y="2232878"/>
            <a:ext cx="1944000" cy="18720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E8187A81-DCD4-420F-A0D8-52FE345F75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B7E4039A-915B-41DC-A4D1-8E2D00283E4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5BD438B-55CB-42C1-B923-77D8B42E6907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D0E62E42-E5B5-4D67-854C-182B2B1B94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E9E16FD-31D4-403C-98C8-58ACE1EB9DC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3614C4F9-57DD-410E-BC94-BCE40DDA85E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181219" y="2232878"/>
            <a:ext cx="1944000" cy="1872000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397A3EC-F218-4325-BAC9-F15E16EFBD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088657" y="4246307"/>
            <a:ext cx="1944000" cy="187200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F840943-A169-4345-A64D-496EA67778E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181219" y="4246307"/>
            <a:ext cx="1944000" cy="1872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45720" rIns="91440" bIns="45720" rtlCol="0" anchor="ctr" anchorCtr="1">
            <a:noAutofit/>
          </a:bodyPr>
          <a:lstStyle>
            <a:lvl1pPr>
              <a:def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tabLst/>
            </a:pPr>
            <a:r>
              <a:rPr lang="da-DK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21707130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&amp; Text Boxes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0836554B-499B-4D39-9F38-475CE40E62E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C340F2F0-C5F1-4AB4-8DA4-3433AB32CA09}"/>
              </a:ext>
            </a:extLst>
          </p:cNvPr>
          <p:cNvSpPr/>
          <p:nvPr/>
        </p:nvSpPr>
        <p:spPr>
          <a:xfrm>
            <a:off x="442800" y="3969892"/>
            <a:ext cx="2592000" cy="214621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FED55F9B-215F-46F1-8BF2-58FAE022CE9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799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8" name="Picture Placeholder 2">
            <a:extLst>
              <a:ext uri="{FF2B5EF4-FFF2-40B4-BE49-F238E27FC236}">
                <a16:creationId xmlns:a16="http://schemas.microsoft.com/office/drawing/2014/main" id="{E10A83AB-065A-479D-832E-DAF6AA362A5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45617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2" name="Picture Placeholder 2">
            <a:extLst>
              <a:ext uri="{FF2B5EF4-FFF2-40B4-BE49-F238E27FC236}">
                <a16:creationId xmlns:a16="http://schemas.microsoft.com/office/drawing/2014/main" id="{9ED5828F-8F6F-4738-BC10-43B225486D5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40364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66" name="Picture Placeholder 2">
            <a:extLst>
              <a:ext uri="{FF2B5EF4-FFF2-40B4-BE49-F238E27FC236}">
                <a16:creationId xmlns:a16="http://schemas.microsoft.com/office/drawing/2014/main" id="{E738D5B4-41AD-47FF-B2C3-F953D2665B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51252" y="2250000"/>
            <a:ext cx="2592000" cy="16929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IN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63F5F59-A06F-4A43-B481-AC3D078E4175}"/>
              </a:ext>
            </a:extLst>
          </p:cNvPr>
          <p:cNvCxnSpPr>
            <a:cxnSpLocks/>
          </p:cNvCxnSpPr>
          <p:nvPr/>
        </p:nvCxnSpPr>
        <p:spPr>
          <a:xfrm>
            <a:off x="595799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3">
            <a:extLst>
              <a:ext uri="{FF2B5EF4-FFF2-40B4-BE49-F238E27FC236}">
                <a16:creationId xmlns:a16="http://schemas.microsoft.com/office/drawing/2014/main" id="{880895D5-6A9D-45D9-84A5-B48C071FA6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388845"/>
            <a:ext cx="11300453" cy="990000"/>
          </a:xfrm>
        </p:spPr>
        <p:txBody>
          <a:bodyPr vert="horz" lIns="0" tIns="45720" rIns="91440" bIns="4572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17A71A41-DCC6-44B5-8D6D-901E7A96F64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42799" y="1457999"/>
            <a:ext cx="11288344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B7ADF330-AE85-40DE-835E-B49449314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917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D17ECCBE-9451-4EF2-9377-41ED7F99FD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9173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3BA6191-995D-4A8B-8097-1BCD8EA9EC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799" y="98303"/>
            <a:ext cx="5846011" cy="228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2E4D74C-410E-483B-833E-4D7AE804ABE2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883744C2-8338-4510-922E-8171C1DBABCE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B42B4048-3937-457B-8213-80A2A3628E05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5" name="Footer Placeholder 3">
            <a:extLst>
              <a:ext uri="{FF2B5EF4-FFF2-40B4-BE49-F238E27FC236}">
                <a16:creationId xmlns:a16="http://schemas.microsoft.com/office/drawing/2014/main" id="{D9EBCE9F-1CDE-44DC-9CF1-533B6C4977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D7BBE5E-1B61-4CA3-801A-918DA43350A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AD6BED7-E2E8-48E7-B6C3-3D790921CE02}"/>
              </a:ext>
            </a:extLst>
          </p:cNvPr>
          <p:cNvSpPr/>
          <p:nvPr userDrawn="1"/>
        </p:nvSpPr>
        <p:spPr>
          <a:xfrm>
            <a:off x="3341581" y="3969892"/>
            <a:ext cx="2592000" cy="214621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48163F1-E4CF-4E7D-A5AC-7F557B9F9888}"/>
              </a:ext>
            </a:extLst>
          </p:cNvPr>
          <p:cNvCxnSpPr>
            <a:cxnSpLocks/>
          </p:cNvCxnSpPr>
          <p:nvPr userDrawn="1"/>
        </p:nvCxnSpPr>
        <p:spPr>
          <a:xfrm>
            <a:off x="349305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2">
            <a:extLst>
              <a:ext uri="{FF2B5EF4-FFF2-40B4-BE49-F238E27FC236}">
                <a16:creationId xmlns:a16="http://schemas.microsoft.com/office/drawing/2014/main" id="{D4DD34B9-07B3-45D6-A5BF-05306FFE4D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9305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54" name="Text Placeholder 22">
            <a:extLst>
              <a:ext uri="{FF2B5EF4-FFF2-40B4-BE49-F238E27FC236}">
                <a16:creationId xmlns:a16="http://schemas.microsoft.com/office/drawing/2014/main" id="{445A936B-6A9C-4882-8BF5-60F2E1365B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7642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818D70A-6530-4BDD-B6BD-0AF00ED04C6D}"/>
              </a:ext>
            </a:extLst>
          </p:cNvPr>
          <p:cNvSpPr/>
          <p:nvPr userDrawn="1"/>
        </p:nvSpPr>
        <p:spPr>
          <a:xfrm>
            <a:off x="6240362" y="3969892"/>
            <a:ext cx="2592000" cy="214621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3D0D619-ECCB-4AFE-A59F-858FA4BFBE68}"/>
              </a:ext>
            </a:extLst>
          </p:cNvPr>
          <p:cNvCxnSpPr>
            <a:cxnSpLocks/>
          </p:cNvCxnSpPr>
          <p:nvPr userDrawn="1"/>
        </p:nvCxnSpPr>
        <p:spPr>
          <a:xfrm>
            <a:off x="639336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2">
            <a:extLst>
              <a:ext uri="{FF2B5EF4-FFF2-40B4-BE49-F238E27FC236}">
                <a16:creationId xmlns:a16="http://schemas.microsoft.com/office/drawing/2014/main" id="{F1F9C027-3BB0-4222-86AF-4FB620642C2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93363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1" name="Text Placeholder 22">
            <a:extLst>
              <a:ext uri="{FF2B5EF4-FFF2-40B4-BE49-F238E27FC236}">
                <a16:creationId xmlns:a16="http://schemas.microsoft.com/office/drawing/2014/main" id="{13334C41-9D92-43F9-9466-EC60629C93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7673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7251D0E-07EF-48AE-B28B-8B7FE9960262}"/>
              </a:ext>
            </a:extLst>
          </p:cNvPr>
          <p:cNvSpPr/>
          <p:nvPr userDrawn="1"/>
        </p:nvSpPr>
        <p:spPr>
          <a:xfrm>
            <a:off x="9139143" y="3969892"/>
            <a:ext cx="2592000" cy="2146211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9E8C4562-237D-43E7-9629-0C9E2F6F24A4}"/>
              </a:ext>
            </a:extLst>
          </p:cNvPr>
          <p:cNvCxnSpPr>
            <a:cxnSpLocks/>
          </p:cNvCxnSpPr>
          <p:nvPr userDrawn="1"/>
        </p:nvCxnSpPr>
        <p:spPr>
          <a:xfrm>
            <a:off x="9292143" y="4443378"/>
            <a:ext cx="2286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  <a:gs pos="88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 Placeholder 22">
            <a:extLst>
              <a:ext uri="{FF2B5EF4-FFF2-40B4-BE49-F238E27FC236}">
                <a16:creationId xmlns:a16="http://schemas.microsoft.com/office/drawing/2014/main" id="{181F6102-B745-4818-A0BA-504371F2668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75518" y="4073611"/>
            <a:ext cx="2319251" cy="305726"/>
          </a:xfrm>
          <a:prstGeom prst="rect">
            <a:avLst/>
          </a:prstGeom>
        </p:spPr>
        <p:txBody>
          <a:bodyPr lIns="0" tIns="46800" bIns="46800" anchor="ctr">
            <a:spAutoFit/>
          </a:bodyPr>
          <a:lstStyle>
            <a:lvl1pPr marL="0" indent="0" algn="l">
              <a:buClr>
                <a:srgbClr val="FF545F"/>
              </a:buClr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Lorem ipsum dolor sit amet</a:t>
            </a:r>
          </a:p>
        </p:txBody>
      </p:sp>
      <p:sp>
        <p:nvSpPr>
          <p:cNvPr id="68" name="Text Placeholder 22">
            <a:extLst>
              <a:ext uri="{FF2B5EF4-FFF2-40B4-BE49-F238E27FC236}">
                <a16:creationId xmlns:a16="http://schemas.microsoft.com/office/drawing/2014/main" id="{72C37B76-7729-4001-A7C4-B08D2F98971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75518" y="4507419"/>
            <a:ext cx="2319251" cy="1440000"/>
          </a:xfrm>
          <a:prstGeom prst="rect">
            <a:avLst/>
          </a:prstGeom>
        </p:spPr>
        <p:txBody>
          <a:bodyPr lIns="0" tIns="46800" bIns="46800">
            <a:noAutofit/>
          </a:bodyPr>
          <a:lstStyle>
            <a:lvl1pPr marL="0" indent="0">
              <a:buClr>
                <a:srgbClr val="FF545F"/>
              </a:buClr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</a:t>
            </a:r>
            <a:r>
              <a:rPr lang="en-US" err="1"/>
              <a:t>dolore</a:t>
            </a:r>
            <a:r>
              <a:rPr lang="en-US"/>
              <a:t>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1343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w/ Icons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701FB85-C272-4F67-9376-36F249DCAFBF}"/>
              </a:ext>
            </a:extLst>
          </p:cNvPr>
          <p:cNvSpPr/>
          <p:nvPr userDrawn="1"/>
        </p:nvSpPr>
        <p:spPr>
          <a:xfrm>
            <a:off x="3020406" y="0"/>
            <a:ext cx="917159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1ED8F4F-C0B6-428A-8156-2EAE02418D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0764" y="2408983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6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2219E8E-B81B-42A6-9777-5061C48EB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48473" y="4427669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D3371-D5A0-444B-8039-E662C6EABF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20764" y="390296"/>
            <a:ext cx="5220000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-29603" y="0"/>
            <a:ext cx="4772841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A7E3823-172A-41D7-9615-01B526ADC265}"/>
              </a:ext>
            </a:extLst>
          </p:cNvPr>
          <p:cNvGrpSpPr/>
          <p:nvPr userDrawn="1"/>
        </p:nvGrpSpPr>
        <p:grpSpPr>
          <a:xfrm>
            <a:off x="5348713" y="390296"/>
            <a:ext cx="377904" cy="521508"/>
            <a:chOff x="5302993" y="401719"/>
            <a:chExt cx="377904" cy="521508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09B9F4C-9DEC-4C04-B351-C0AF80F0C2A2}"/>
                </a:ext>
              </a:extLst>
            </p:cNvPr>
            <p:cNvSpPr/>
            <p:nvPr userDrawn="1"/>
          </p:nvSpPr>
          <p:spPr>
            <a:xfrm>
              <a:off x="5302993" y="401719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1F1A1A7D-1BE7-41E8-AC2D-AE6B08947B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58595" y="510073"/>
              <a:ext cx="266700" cy="3048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EE4C06B-38BA-4258-A35B-A740ADC05DF2}"/>
              </a:ext>
            </a:extLst>
          </p:cNvPr>
          <p:cNvGrpSpPr/>
          <p:nvPr userDrawn="1"/>
        </p:nvGrpSpPr>
        <p:grpSpPr>
          <a:xfrm>
            <a:off x="5376422" y="4427669"/>
            <a:ext cx="377904" cy="521508"/>
            <a:chOff x="5302993" y="4340636"/>
            <a:chExt cx="377904" cy="521508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0BBA3B-007E-49C2-B8B9-A965F9165FC7}"/>
                </a:ext>
              </a:extLst>
            </p:cNvPr>
            <p:cNvSpPr/>
            <p:nvPr userDrawn="1"/>
          </p:nvSpPr>
          <p:spPr>
            <a:xfrm>
              <a:off x="5302993" y="434063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C0C001C4-EE98-4465-8B7B-D8A818ED69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367950" y="4472435"/>
              <a:ext cx="247990" cy="25791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F5648FF-6840-4E1E-B545-5ECC7A2C57F2}"/>
              </a:ext>
            </a:extLst>
          </p:cNvPr>
          <p:cNvGrpSpPr/>
          <p:nvPr userDrawn="1"/>
        </p:nvGrpSpPr>
        <p:grpSpPr>
          <a:xfrm>
            <a:off x="5348713" y="2408983"/>
            <a:ext cx="377904" cy="521508"/>
            <a:chOff x="5302993" y="2446026"/>
            <a:chExt cx="377904" cy="521508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C056E5A-50B8-4FF1-9AD8-E4003692D263}"/>
                </a:ext>
              </a:extLst>
            </p:cNvPr>
            <p:cNvSpPr/>
            <p:nvPr userDrawn="1"/>
          </p:nvSpPr>
          <p:spPr>
            <a:xfrm>
              <a:off x="5302993" y="2446026"/>
              <a:ext cx="377904" cy="521508"/>
            </a:xfrm>
            <a:custGeom>
              <a:avLst/>
              <a:gdLst>
                <a:gd name="connsiteX0" fmla="*/ 0 w 1600010"/>
                <a:gd name="connsiteY0" fmla="*/ 564484 h 2208014"/>
                <a:gd name="connsiteX1" fmla="*/ 801499 w 1600010"/>
                <a:gd name="connsiteY1" fmla="*/ 0 h 2208014"/>
                <a:gd name="connsiteX2" fmla="*/ 1600650 w 1600010"/>
                <a:gd name="connsiteY2" fmla="*/ 564484 h 2208014"/>
                <a:gd name="connsiteX3" fmla="*/ 1600650 w 1600010"/>
                <a:gd name="connsiteY3" fmla="*/ 1673611 h 2208014"/>
                <a:gd name="connsiteX4" fmla="*/ 800325 w 1600010"/>
                <a:gd name="connsiteY4" fmla="*/ 2218361 h 2208014"/>
                <a:gd name="connsiteX5" fmla="*/ 0 w 1600010"/>
                <a:gd name="connsiteY5" fmla="*/ 1666998 h 2208014"/>
                <a:gd name="connsiteX6" fmla="*/ 0 w 1600010"/>
                <a:gd name="connsiteY6" fmla="*/ 564484 h 2208014"/>
                <a:gd name="connsiteX7" fmla="*/ 0 w 1600010"/>
                <a:gd name="connsiteY7" fmla="*/ 564484 h 2208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0010" h="2208014">
                  <a:moveTo>
                    <a:pt x="0" y="564484"/>
                  </a:moveTo>
                  <a:lnTo>
                    <a:pt x="801499" y="0"/>
                  </a:lnTo>
                  <a:lnTo>
                    <a:pt x="1600650" y="564484"/>
                  </a:lnTo>
                  <a:lnTo>
                    <a:pt x="1600650" y="1673611"/>
                  </a:lnTo>
                  <a:lnTo>
                    <a:pt x="800325" y="2218361"/>
                  </a:lnTo>
                  <a:lnTo>
                    <a:pt x="0" y="1666998"/>
                  </a:lnTo>
                  <a:lnTo>
                    <a:pt x="0" y="564484"/>
                  </a:lnTo>
                  <a:lnTo>
                    <a:pt x="0" y="564484"/>
                  </a:lnTo>
                  <a:close/>
                </a:path>
              </a:pathLst>
            </a:custGeom>
            <a:solidFill>
              <a:schemeClr val="accent6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wordArtVert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mbria" panose="02040503050406030204" pitchFamily="18" charset="0"/>
                <a:cs typeface="+mn-cs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D99936D8-E816-4D48-9BE0-BF3EFC24B9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379372" y="2567719"/>
              <a:ext cx="225147" cy="278123"/>
            </a:xfrm>
            <a:prstGeom prst="rect">
              <a:avLst/>
            </a:prstGeom>
          </p:spPr>
        </p:pic>
      </p:grp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15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5F519C3B-7679-44F1-B6BE-2792888A5E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30" name="Freeform 29">
            <a:extLst>
              <a:ext uri="{FF2B5EF4-FFF2-40B4-BE49-F238E27FC236}">
                <a16:creationId xmlns:a16="http://schemas.microsoft.com/office/drawing/2014/main" id="{1A0F3B76-3382-9248-82C0-E233897683C1}"/>
              </a:ext>
            </a:extLst>
          </p:cNvPr>
          <p:cNvSpPr/>
          <p:nvPr/>
        </p:nvSpPr>
        <p:spPr>
          <a:xfrm>
            <a:off x="0" y="5458906"/>
            <a:ext cx="3131911" cy="1406635"/>
          </a:xfrm>
          <a:custGeom>
            <a:avLst/>
            <a:gdLst>
              <a:gd name="connsiteX0" fmla="*/ 1069980 w 3131911"/>
              <a:gd name="connsiteY0" fmla="*/ 0 h 1406635"/>
              <a:gd name="connsiteX1" fmla="*/ 3131911 w 3131911"/>
              <a:gd name="connsiteY1" fmla="*/ 1406635 h 1406635"/>
              <a:gd name="connsiteX2" fmla="*/ 0 w 3131911"/>
              <a:gd name="connsiteY2" fmla="*/ 1406635 h 1406635"/>
              <a:gd name="connsiteX3" fmla="*/ 0 w 3131911"/>
              <a:gd name="connsiteY3" fmla="*/ 751147 h 1406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1911" h="1406635">
                <a:moveTo>
                  <a:pt x="1069980" y="0"/>
                </a:moveTo>
                <a:lnTo>
                  <a:pt x="3131911" y="1406635"/>
                </a:lnTo>
                <a:lnTo>
                  <a:pt x="0" y="1406635"/>
                </a:lnTo>
                <a:lnTo>
                  <a:pt x="0" y="751147"/>
                </a:lnTo>
                <a:close/>
              </a:path>
            </a:pathLst>
          </a:custGeom>
          <a:gradFill>
            <a:gsLst>
              <a:gs pos="0">
                <a:srgbClr val="FF555F"/>
              </a:gs>
              <a:gs pos="93000">
                <a:srgbClr val="073262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D25BC452-1F24-4688-8C24-691D5A2223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97948" y="0"/>
            <a:ext cx="1780140" cy="6858000"/>
          </a:xfrm>
          <a:custGeom>
            <a:avLst/>
            <a:gdLst>
              <a:gd name="connsiteX0" fmla="*/ 0 w 5396955"/>
              <a:gd name="connsiteY0" fmla="*/ 0 h 5449171"/>
              <a:gd name="connsiteX1" fmla="*/ 531609 w 5396955"/>
              <a:gd name="connsiteY1" fmla="*/ 0 h 5449171"/>
              <a:gd name="connsiteX2" fmla="*/ 1495853 w 5396955"/>
              <a:gd name="connsiteY2" fmla="*/ 0 h 5449171"/>
              <a:gd name="connsiteX3" fmla="*/ 2323617 w 5396955"/>
              <a:gd name="connsiteY3" fmla="*/ 0 h 5449171"/>
              <a:gd name="connsiteX4" fmla="*/ 3297432 w 5396955"/>
              <a:gd name="connsiteY4" fmla="*/ 0 h 5449171"/>
              <a:gd name="connsiteX5" fmla="*/ 4125195 w 5396955"/>
              <a:gd name="connsiteY5" fmla="*/ 0 h 5449171"/>
              <a:gd name="connsiteX6" fmla="*/ 5093137 w 5396955"/>
              <a:gd name="connsiteY6" fmla="*/ 0 h 5449171"/>
              <a:gd name="connsiteX7" fmla="*/ 5396955 w 5396955"/>
              <a:gd name="connsiteY7" fmla="*/ 0 h 5449171"/>
              <a:gd name="connsiteX8" fmla="*/ 5396955 w 5396955"/>
              <a:gd name="connsiteY8" fmla="*/ 3579235 h 5449171"/>
              <a:gd name="connsiteX9" fmla="*/ 2706371 w 5396955"/>
              <a:gd name="connsiteY9" fmla="*/ 5449171 h 5449171"/>
              <a:gd name="connsiteX10" fmla="*/ 0 w 5396955"/>
              <a:gd name="connsiteY10" fmla="*/ 3568264 h 5449171"/>
              <a:gd name="connsiteX11" fmla="*/ 0 w 5396955"/>
              <a:gd name="connsiteY11" fmla="*/ 3027553 h 5449171"/>
              <a:gd name="connsiteX12" fmla="*/ 0 w 5396955"/>
              <a:gd name="connsiteY12" fmla="*/ 2387181 h 5449171"/>
              <a:gd name="connsiteX13" fmla="*/ 0 w 5396955"/>
              <a:gd name="connsiteY13" fmla="*/ 1839548 h 5449171"/>
              <a:gd name="connsiteX14" fmla="*/ 0 w 5396955"/>
              <a:gd name="connsiteY14" fmla="*/ 1195290 h 5449171"/>
              <a:gd name="connsiteX15" fmla="*/ 0 w 5396955"/>
              <a:gd name="connsiteY15" fmla="*/ 647657 h 5449171"/>
              <a:gd name="connsiteX16" fmla="*/ 0 w 5396955"/>
              <a:gd name="connsiteY16" fmla="*/ 9731 h 5449171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68264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647657 h 3579235"/>
              <a:gd name="connsiteX15" fmla="*/ 0 w 5396955"/>
              <a:gd name="connsiteY15" fmla="*/ 9731 h 3579235"/>
              <a:gd name="connsiteX16" fmla="*/ 0 w 5396955"/>
              <a:gd name="connsiteY16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1195290 h 3579235"/>
              <a:gd name="connsiteX14" fmla="*/ 0 w 5396955"/>
              <a:gd name="connsiteY14" fmla="*/ 9731 h 3579235"/>
              <a:gd name="connsiteX15" fmla="*/ 0 w 5396955"/>
              <a:gd name="connsiteY15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1839548 h 3579235"/>
              <a:gd name="connsiteX13" fmla="*/ 0 w 5396955"/>
              <a:gd name="connsiteY13" fmla="*/ 9731 h 3579235"/>
              <a:gd name="connsiteX14" fmla="*/ 0 w 5396955"/>
              <a:gd name="connsiteY14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2387181 h 3579235"/>
              <a:gd name="connsiteX12" fmla="*/ 0 w 5396955"/>
              <a:gd name="connsiteY12" fmla="*/ 9731 h 3579235"/>
              <a:gd name="connsiteX13" fmla="*/ 0 w 5396955"/>
              <a:gd name="connsiteY13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3027553 h 3579235"/>
              <a:gd name="connsiteX11" fmla="*/ 0 w 5396955"/>
              <a:gd name="connsiteY11" fmla="*/ 9731 h 3579235"/>
              <a:gd name="connsiteX12" fmla="*/ 0 w 5396955"/>
              <a:gd name="connsiteY12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531609 w 5396955"/>
              <a:gd name="connsiteY1" fmla="*/ 0 h 3579235"/>
              <a:gd name="connsiteX2" fmla="*/ 1495853 w 5396955"/>
              <a:gd name="connsiteY2" fmla="*/ 0 h 3579235"/>
              <a:gd name="connsiteX3" fmla="*/ 2323617 w 5396955"/>
              <a:gd name="connsiteY3" fmla="*/ 0 h 3579235"/>
              <a:gd name="connsiteX4" fmla="*/ 3297432 w 5396955"/>
              <a:gd name="connsiteY4" fmla="*/ 0 h 3579235"/>
              <a:gd name="connsiteX5" fmla="*/ 4125195 w 5396955"/>
              <a:gd name="connsiteY5" fmla="*/ 0 h 3579235"/>
              <a:gd name="connsiteX6" fmla="*/ 5093137 w 5396955"/>
              <a:gd name="connsiteY6" fmla="*/ 0 h 3579235"/>
              <a:gd name="connsiteX7" fmla="*/ 5396955 w 5396955"/>
              <a:gd name="connsiteY7" fmla="*/ 0 h 3579235"/>
              <a:gd name="connsiteX8" fmla="*/ 5396955 w 5396955"/>
              <a:gd name="connsiteY8" fmla="*/ 3579235 h 3579235"/>
              <a:gd name="connsiteX9" fmla="*/ 0 w 5396955"/>
              <a:gd name="connsiteY9" fmla="*/ 3576209 h 3579235"/>
              <a:gd name="connsiteX10" fmla="*/ 0 w 5396955"/>
              <a:gd name="connsiteY10" fmla="*/ 9731 h 3579235"/>
              <a:gd name="connsiteX11" fmla="*/ 0 w 5396955"/>
              <a:gd name="connsiteY11" fmla="*/ 0 h 3579235"/>
              <a:gd name="connsiteX0" fmla="*/ 0 w 5396955"/>
              <a:gd name="connsiteY0" fmla="*/ 0 h 3579235"/>
              <a:gd name="connsiteX1" fmla="*/ 1495853 w 5396955"/>
              <a:gd name="connsiteY1" fmla="*/ 0 h 3579235"/>
              <a:gd name="connsiteX2" fmla="*/ 2323617 w 5396955"/>
              <a:gd name="connsiteY2" fmla="*/ 0 h 3579235"/>
              <a:gd name="connsiteX3" fmla="*/ 3297432 w 5396955"/>
              <a:gd name="connsiteY3" fmla="*/ 0 h 3579235"/>
              <a:gd name="connsiteX4" fmla="*/ 4125195 w 5396955"/>
              <a:gd name="connsiteY4" fmla="*/ 0 h 3579235"/>
              <a:gd name="connsiteX5" fmla="*/ 5093137 w 5396955"/>
              <a:gd name="connsiteY5" fmla="*/ 0 h 3579235"/>
              <a:gd name="connsiteX6" fmla="*/ 5396955 w 5396955"/>
              <a:gd name="connsiteY6" fmla="*/ 0 h 3579235"/>
              <a:gd name="connsiteX7" fmla="*/ 5396955 w 5396955"/>
              <a:gd name="connsiteY7" fmla="*/ 3579235 h 3579235"/>
              <a:gd name="connsiteX8" fmla="*/ 0 w 5396955"/>
              <a:gd name="connsiteY8" fmla="*/ 3576209 h 3579235"/>
              <a:gd name="connsiteX9" fmla="*/ 0 w 5396955"/>
              <a:gd name="connsiteY9" fmla="*/ 9731 h 3579235"/>
              <a:gd name="connsiteX10" fmla="*/ 0 w 5396955"/>
              <a:gd name="connsiteY10" fmla="*/ 0 h 3579235"/>
              <a:gd name="connsiteX0" fmla="*/ 0 w 5396955"/>
              <a:gd name="connsiteY0" fmla="*/ 0 h 3579235"/>
              <a:gd name="connsiteX1" fmla="*/ 2323617 w 5396955"/>
              <a:gd name="connsiteY1" fmla="*/ 0 h 3579235"/>
              <a:gd name="connsiteX2" fmla="*/ 3297432 w 5396955"/>
              <a:gd name="connsiteY2" fmla="*/ 0 h 3579235"/>
              <a:gd name="connsiteX3" fmla="*/ 4125195 w 5396955"/>
              <a:gd name="connsiteY3" fmla="*/ 0 h 3579235"/>
              <a:gd name="connsiteX4" fmla="*/ 5093137 w 5396955"/>
              <a:gd name="connsiteY4" fmla="*/ 0 h 3579235"/>
              <a:gd name="connsiteX5" fmla="*/ 5396955 w 5396955"/>
              <a:gd name="connsiteY5" fmla="*/ 0 h 3579235"/>
              <a:gd name="connsiteX6" fmla="*/ 5396955 w 5396955"/>
              <a:gd name="connsiteY6" fmla="*/ 3579235 h 3579235"/>
              <a:gd name="connsiteX7" fmla="*/ 0 w 5396955"/>
              <a:gd name="connsiteY7" fmla="*/ 3576209 h 3579235"/>
              <a:gd name="connsiteX8" fmla="*/ 0 w 5396955"/>
              <a:gd name="connsiteY8" fmla="*/ 9731 h 3579235"/>
              <a:gd name="connsiteX9" fmla="*/ 0 w 5396955"/>
              <a:gd name="connsiteY9" fmla="*/ 0 h 3579235"/>
              <a:gd name="connsiteX0" fmla="*/ 0 w 5396955"/>
              <a:gd name="connsiteY0" fmla="*/ 0 h 3579235"/>
              <a:gd name="connsiteX1" fmla="*/ 3297432 w 5396955"/>
              <a:gd name="connsiteY1" fmla="*/ 0 h 3579235"/>
              <a:gd name="connsiteX2" fmla="*/ 4125195 w 5396955"/>
              <a:gd name="connsiteY2" fmla="*/ 0 h 3579235"/>
              <a:gd name="connsiteX3" fmla="*/ 5093137 w 5396955"/>
              <a:gd name="connsiteY3" fmla="*/ 0 h 3579235"/>
              <a:gd name="connsiteX4" fmla="*/ 5396955 w 5396955"/>
              <a:gd name="connsiteY4" fmla="*/ 0 h 3579235"/>
              <a:gd name="connsiteX5" fmla="*/ 5396955 w 5396955"/>
              <a:gd name="connsiteY5" fmla="*/ 3579235 h 3579235"/>
              <a:gd name="connsiteX6" fmla="*/ 0 w 5396955"/>
              <a:gd name="connsiteY6" fmla="*/ 3576209 h 3579235"/>
              <a:gd name="connsiteX7" fmla="*/ 0 w 5396955"/>
              <a:gd name="connsiteY7" fmla="*/ 9731 h 3579235"/>
              <a:gd name="connsiteX8" fmla="*/ 0 w 5396955"/>
              <a:gd name="connsiteY8" fmla="*/ 0 h 3579235"/>
              <a:gd name="connsiteX0" fmla="*/ 0 w 5396955"/>
              <a:gd name="connsiteY0" fmla="*/ 0 h 3579235"/>
              <a:gd name="connsiteX1" fmla="*/ 4125195 w 5396955"/>
              <a:gd name="connsiteY1" fmla="*/ 0 h 3579235"/>
              <a:gd name="connsiteX2" fmla="*/ 5093137 w 5396955"/>
              <a:gd name="connsiteY2" fmla="*/ 0 h 3579235"/>
              <a:gd name="connsiteX3" fmla="*/ 5396955 w 5396955"/>
              <a:gd name="connsiteY3" fmla="*/ 0 h 3579235"/>
              <a:gd name="connsiteX4" fmla="*/ 5396955 w 5396955"/>
              <a:gd name="connsiteY4" fmla="*/ 3579235 h 3579235"/>
              <a:gd name="connsiteX5" fmla="*/ 0 w 5396955"/>
              <a:gd name="connsiteY5" fmla="*/ 3576209 h 3579235"/>
              <a:gd name="connsiteX6" fmla="*/ 0 w 5396955"/>
              <a:gd name="connsiteY6" fmla="*/ 9731 h 3579235"/>
              <a:gd name="connsiteX7" fmla="*/ 0 w 5396955"/>
              <a:gd name="connsiteY7" fmla="*/ 0 h 3579235"/>
              <a:gd name="connsiteX0" fmla="*/ 0 w 5396955"/>
              <a:gd name="connsiteY0" fmla="*/ 0 h 3579235"/>
              <a:gd name="connsiteX1" fmla="*/ 5093137 w 5396955"/>
              <a:gd name="connsiteY1" fmla="*/ 0 h 3579235"/>
              <a:gd name="connsiteX2" fmla="*/ 5396955 w 5396955"/>
              <a:gd name="connsiteY2" fmla="*/ 0 h 3579235"/>
              <a:gd name="connsiteX3" fmla="*/ 5396955 w 5396955"/>
              <a:gd name="connsiteY3" fmla="*/ 3579235 h 3579235"/>
              <a:gd name="connsiteX4" fmla="*/ 0 w 5396955"/>
              <a:gd name="connsiteY4" fmla="*/ 3576209 h 3579235"/>
              <a:gd name="connsiteX5" fmla="*/ 0 w 5396955"/>
              <a:gd name="connsiteY5" fmla="*/ 9731 h 3579235"/>
              <a:gd name="connsiteX6" fmla="*/ 0 w 5396955"/>
              <a:gd name="connsiteY6" fmla="*/ 0 h 3579235"/>
              <a:gd name="connsiteX0" fmla="*/ 0 w 5396955"/>
              <a:gd name="connsiteY0" fmla="*/ 0 h 3579235"/>
              <a:gd name="connsiteX1" fmla="*/ 5396955 w 5396955"/>
              <a:gd name="connsiteY1" fmla="*/ 0 h 3579235"/>
              <a:gd name="connsiteX2" fmla="*/ 5396955 w 5396955"/>
              <a:gd name="connsiteY2" fmla="*/ 3579235 h 3579235"/>
              <a:gd name="connsiteX3" fmla="*/ 0 w 5396955"/>
              <a:gd name="connsiteY3" fmla="*/ 3576209 h 3579235"/>
              <a:gd name="connsiteX4" fmla="*/ 0 w 5396955"/>
              <a:gd name="connsiteY4" fmla="*/ 9731 h 3579235"/>
              <a:gd name="connsiteX5" fmla="*/ 0 w 5396955"/>
              <a:gd name="connsiteY5" fmla="*/ 0 h 357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96955" h="3579235">
                <a:moveTo>
                  <a:pt x="0" y="0"/>
                </a:moveTo>
                <a:lnTo>
                  <a:pt x="5396955" y="0"/>
                </a:lnTo>
                <a:lnTo>
                  <a:pt x="5396955" y="3579235"/>
                </a:lnTo>
                <a:lnTo>
                  <a:pt x="0" y="3576209"/>
                </a:lnTo>
                <a:lnTo>
                  <a:pt x="0" y="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 anchorCtr="0">
            <a:noAutofit/>
          </a:bodyPr>
          <a:lstStyle>
            <a:lvl1pPr>
              <a:defRPr lang="en-GB" sz="18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FBD1F2-8F8E-4ED2-B94D-477D0A3B1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813"/>
          <a:stretch/>
        </p:blipFill>
        <p:spPr>
          <a:xfrm>
            <a:off x="0" y="0"/>
            <a:ext cx="4772841" cy="685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7345E08-F03C-4412-AED1-380A48E88A38}"/>
              </a:ext>
            </a:extLst>
          </p:cNvPr>
          <p:cNvCxnSpPr>
            <a:cxnSpLocks/>
          </p:cNvCxnSpPr>
          <p:nvPr/>
        </p:nvCxnSpPr>
        <p:spPr>
          <a:xfrm>
            <a:off x="457198" y="4034177"/>
            <a:ext cx="2234261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30">
            <a:extLst>
              <a:ext uri="{FF2B5EF4-FFF2-40B4-BE49-F238E27FC236}">
                <a16:creationId xmlns:a16="http://schemas.microsoft.com/office/drawing/2014/main" id="{9B2D83E3-7F99-7D4F-8872-D013EB064C64}"/>
              </a:ext>
            </a:extLst>
          </p:cNvPr>
          <p:cNvSpPr/>
          <p:nvPr/>
        </p:nvSpPr>
        <p:spPr>
          <a:xfrm flipH="1">
            <a:off x="1463681" y="5720587"/>
            <a:ext cx="2037801" cy="1137413"/>
          </a:xfrm>
          <a:custGeom>
            <a:avLst/>
            <a:gdLst>
              <a:gd name="connsiteX0" fmla="*/ 1647526 w 2037801"/>
              <a:gd name="connsiteY0" fmla="*/ 0 h 1137413"/>
              <a:gd name="connsiteX1" fmla="*/ 0 w 2037801"/>
              <a:gd name="connsiteY1" fmla="*/ 1137412 h 1137413"/>
              <a:gd name="connsiteX2" fmla="*/ 4 w 2037801"/>
              <a:gd name="connsiteY2" fmla="*/ 1137413 h 1137413"/>
              <a:gd name="connsiteX3" fmla="*/ 763670 w 2037801"/>
              <a:gd name="connsiteY3" fmla="*/ 1137413 h 1137413"/>
              <a:gd name="connsiteX4" fmla="*/ 2037801 w 2037801"/>
              <a:gd name="connsiteY4" fmla="*/ 260147 h 1137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7801" h="1137413">
                <a:moveTo>
                  <a:pt x="1647526" y="0"/>
                </a:moveTo>
                <a:lnTo>
                  <a:pt x="0" y="1137412"/>
                </a:lnTo>
                <a:lnTo>
                  <a:pt x="4" y="1137413"/>
                </a:lnTo>
                <a:lnTo>
                  <a:pt x="763670" y="1137413"/>
                </a:lnTo>
                <a:lnTo>
                  <a:pt x="2037801" y="260147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000D3F3F-CEDE-AA4A-B072-12C37EE83E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7298" y="6396668"/>
            <a:ext cx="931790" cy="27146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EC097FF-BFAB-400E-9131-80689ABAF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1739830"/>
            <a:ext cx="2230714" cy="2166556"/>
          </a:xfrm>
        </p:spPr>
        <p:txBody>
          <a:bodyPr vert="horz" lIns="0" tIns="45720" rIns="91440" bIns="45720" rtlCol="0" anchor="ctr">
            <a:noAutofit/>
          </a:bodyPr>
          <a:lstStyle>
            <a:lvl1pPr>
              <a:defRPr lang="en-GB"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F9326D4-7167-4966-81BB-1BAB5CBC4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799" y="4173542"/>
            <a:ext cx="2234329" cy="5334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i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AAC0CD-3BB0-4D9E-A908-07FDE5E8E65A}"/>
              </a:ext>
            </a:extLst>
          </p:cNvPr>
          <p:cNvSpPr/>
          <p:nvPr userDrawn="1"/>
        </p:nvSpPr>
        <p:spPr>
          <a:xfrm>
            <a:off x="0" y="0"/>
            <a:ext cx="109728" cy="6858000"/>
          </a:xfrm>
          <a:prstGeom prst="rect">
            <a:avLst/>
          </a:prstGeom>
          <a:gradFill flip="none" rotWithShape="1">
            <a:gsLst>
              <a:gs pos="68000">
                <a:schemeClr val="accent2"/>
              </a:gs>
              <a:gs pos="98000">
                <a:schemeClr val="accent3"/>
              </a:gs>
              <a:gs pos="33000">
                <a:schemeClr val="accent1"/>
              </a:gs>
              <a:gs pos="0">
                <a:schemeClr val="accent3"/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A23EC76-A22A-47BD-BB6E-CAADBA2F82AF}"/>
              </a:ext>
            </a:extLst>
          </p:cNvPr>
          <p:cNvSpPr/>
          <p:nvPr userDrawn="1"/>
        </p:nvSpPr>
        <p:spPr>
          <a:xfrm>
            <a:off x="10989256" y="0"/>
            <a:ext cx="1204989" cy="1094936"/>
          </a:xfrm>
          <a:custGeom>
            <a:avLst/>
            <a:gdLst>
              <a:gd name="connsiteX0" fmla="*/ 0 w 3911600"/>
              <a:gd name="connsiteY0" fmla="*/ 0 h 4438650"/>
              <a:gd name="connsiteX1" fmla="*/ 2641600 w 3911600"/>
              <a:gd name="connsiteY1" fmla="*/ 1784350 h 4438650"/>
              <a:gd name="connsiteX2" fmla="*/ 1384300 w 3911600"/>
              <a:gd name="connsiteY2" fmla="*/ 2673350 h 4438650"/>
              <a:gd name="connsiteX3" fmla="*/ 3911600 w 3911600"/>
              <a:gd name="connsiteY3" fmla="*/ 4438650 h 4438650"/>
              <a:gd name="connsiteX4" fmla="*/ 3911600 w 3911600"/>
              <a:gd name="connsiteY4" fmla="*/ 6350 h 4438650"/>
              <a:gd name="connsiteX5" fmla="*/ 0 w 3911600"/>
              <a:gd name="connsiteY5" fmla="*/ 0 h 4438650"/>
              <a:gd name="connsiteX0" fmla="*/ 0 w 3921125"/>
              <a:gd name="connsiteY0" fmla="*/ 0 h 4438650"/>
              <a:gd name="connsiteX1" fmla="*/ 2641600 w 3921125"/>
              <a:gd name="connsiteY1" fmla="*/ 1784350 h 4438650"/>
              <a:gd name="connsiteX2" fmla="*/ 1384300 w 3921125"/>
              <a:gd name="connsiteY2" fmla="*/ 2673350 h 4438650"/>
              <a:gd name="connsiteX3" fmla="*/ 3911600 w 3921125"/>
              <a:gd name="connsiteY3" fmla="*/ 4438650 h 4438650"/>
              <a:gd name="connsiteX4" fmla="*/ 3921125 w 3921125"/>
              <a:gd name="connsiteY4" fmla="*/ 6350 h 4438650"/>
              <a:gd name="connsiteX5" fmla="*/ 0 w 3921125"/>
              <a:gd name="connsiteY5" fmla="*/ 0 h 4438650"/>
              <a:gd name="connsiteX0" fmla="*/ 0 w 4187458"/>
              <a:gd name="connsiteY0" fmla="*/ 0 h 4438650"/>
              <a:gd name="connsiteX1" fmla="*/ 2907933 w 4187458"/>
              <a:gd name="connsiteY1" fmla="*/ 1784350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650633 w 4187458"/>
              <a:gd name="connsiteY2" fmla="*/ 2673350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41976 w 4187458"/>
              <a:gd name="connsiteY1" fmla="*/ 1684474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301070 w 4187458"/>
              <a:gd name="connsiteY2" fmla="*/ 2390372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438650"/>
              <a:gd name="connsiteX1" fmla="*/ 2325330 w 4187458"/>
              <a:gd name="connsiteY1" fmla="*/ 1642860 h 4438650"/>
              <a:gd name="connsiteX2" fmla="*/ 1292747 w 4187458"/>
              <a:gd name="connsiteY2" fmla="*/ 2365403 h 4438650"/>
              <a:gd name="connsiteX3" fmla="*/ 4177933 w 4187458"/>
              <a:gd name="connsiteY3" fmla="*/ 4438650 h 4438650"/>
              <a:gd name="connsiteX4" fmla="*/ 4187458 w 4187458"/>
              <a:gd name="connsiteY4" fmla="*/ 6350 h 4438650"/>
              <a:gd name="connsiteX5" fmla="*/ 0 w 4187458"/>
              <a:gd name="connsiteY5" fmla="*/ 0 h 4438650"/>
              <a:gd name="connsiteX0" fmla="*/ 0 w 4187458"/>
              <a:gd name="connsiteY0" fmla="*/ 0 h 4322129"/>
              <a:gd name="connsiteX1" fmla="*/ 2325330 w 4187458"/>
              <a:gd name="connsiteY1" fmla="*/ 1642860 h 4322129"/>
              <a:gd name="connsiteX2" fmla="*/ 1292747 w 4187458"/>
              <a:gd name="connsiteY2" fmla="*/ 2365403 h 4322129"/>
              <a:gd name="connsiteX3" fmla="*/ 4177932 w 4187458"/>
              <a:gd name="connsiteY3" fmla="*/ 4322129 h 4322129"/>
              <a:gd name="connsiteX4" fmla="*/ 4187458 w 4187458"/>
              <a:gd name="connsiteY4" fmla="*/ 6350 h 4322129"/>
              <a:gd name="connsiteX5" fmla="*/ 0 w 4187458"/>
              <a:gd name="connsiteY5" fmla="*/ 0 h 4322129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292747 w 4191089"/>
              <a:gd name="connsiteY2" fmla="*/ 2365403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325330 w 4191089"/>
              <a:gd name="connsiteY1" fmla="*/ 1642860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317716 w 4191089"/>
              <a:gd name="connsiteY2" fmla="*/ 2340434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91089"/>
              <a:gd name="connsiteY0" fmla="*/ 0 h 4334615"/>
              <a:gd name="connsiteX1" fmla="*/ 2435663 w 4191089"/>
              <a:gd name="connsiteY1" fmla="*/ 1664926 h 4334615"/>
              <a:gd name="connsiteX2" fmla="*/ 1626653 w 4191089"/>
              <a:gd name="connsiteY2" fmla="*/ 2208032 h 4334615"/>
              <a:gd name="connsiteX3" fmla="*/ 4190418 w 4191089"/>
              <a:gd name="connsiteY3" fmla="*/ 4334615 h 4334615"/>
              <a:gd name="connsiteX4" fmla="*/ 4187458 w 4191089"/>
              <a:gd name="connsiteY4" fmla="*/ 6350 h 4334615"/>
              <a:gd name="connsiteX5" fmla="*/ 0 w 4191089"/>
              <a:gd name="connsiteY5" fmla="*/ 0 h 4334615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26653 w 4187458"/>
              <a:gd name="connsiteY2" fmla="*/ 2208032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49144"/>
              <a:gd name="connsiteX1" fmla="*/ 2435663 w 4187458"/>
              <a:gd name="connsiteY1" fmla="*/ 1664926 h 3849144"/>
              <a:gd name="connsiteX2" fmla="*/ 1692854 w 4187458"/>
              <a:gd name="connsiteY2" fmla="*/ 2185965 h 3849144"/>
              <a:gd name="connsiteX3" fmla="*/ 4146285 w 4187458"/>
              <a:gd name="connsiteY3" fmla="*/ 3849144 h 3849144"/>
              <a:gd name="connsiteX4" fmla="*/ 4187458 w 4187458"/>
              <a:gd name="connsiteY4" fmla="*/ 6350 h 3849144"/>
              <a:gd name="connsiteX5" fmla="*/ 0 w 4187458"/>
              <a:gd name="connsiteY5" fmla="*/ 0 h 3849144"/>
              <a:gd name="connsiteX0" fmla="*/ 0 w 4187458"/>
              <a:gd name="connsiteY0" fmla="*/ 0 h 3805010"/>
              <a:gd name="connsiteX1" fmla="*/ 2435663 w 4187458"/>
              <a:gd name="connsiteY1" fmla="*/ 1664926 h 3805010"/>
              <a:gd name="connsiteX2" fmla="*/ 1692854 w 4187458"/>
              <a:gd name="connsiteY2" fmla="*/ 2185965 h 3805010"/>
              <a:gd name="connsiteX3" fmla="*/ 4146285 w 4187458"/>
              <a:gd name="connsiteY3" fmla="*/ 3805010 h 3805010"/>
              <a:gd name="connsiteX4" fmla="*/ 4187458 w 4187458"/>
              <a:gd name="connsiteY4" fmla="*/ 6350 h 3805010"/>
              <a:gd name="connsiteX5" fmla="*/ 0 w 4187458"/>
              <a:gd name="connsiteY5" fmla="*/ 0 h 380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458" h="3805010">
                <a:moveTo>
                  <a:pt x="0" y="0"/>
                </a:moveTo>
                <a:lnTo>
                  <a:pt x="2435663" y="1664926"/>
                </a:lnTo>
                <a:lnTo>
                  <a:pt x="1692854" y="2185965"/>
                </a:lnTo>
                <a:lnTo>
                  <a:pt x="4146285" y="3805010"/>
                </a:lnTo>
                <a:cubicBezTo>
                  <a:pt x="4149460" y="2366417"/>
                  <a:pt x="4184283" y="1444943"/>
                  <a:pt x="4187458" y="635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75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4671103-7E79-47FF-8825-80F398220656}"/>
              </a:ext>
            </a:extLst>
          </p:cNvPr>
          <p:cNvSpPr/>
          <p:nvPr userDrawn="1"/>
        </p:nvSpPr>
        <p:spPr>
          <a:xfrm>
            <a:off x="11480799" y="658750"/>
            <a:ext cx="714491" cy="992250"/>
          </a:xfrm>
          <a:custGeom>
            <a:avLst/>
            <a:gdLst>
              <a:gd name="connsiteX0" fmla="*/ 2545080 w 2545080"/>
              <a:gd name="connsiteY0" fmla="*/ 0 h 3543300"/>
              <a:gd name="connsiteX1" fmla="*/ 0 w 2545080"/>
              <a:gd name="connsiteY1" fmla="*/ 1767840 h 3543300"/>
              <a:gd name="connsiteX2" fmla="*/ 2545080 w 2545080"/>
              <a:gd name="connsiteY2" fmla="*/ 3543300 h 3543300"/>
              <a:gd name="connsiteX3" fmla="*/ 2545080 w 2545080"/>
              <a:gd name="connsiteY3" fmla="*/ 0 h 3543300"/>
              <a:gd name="connsiteX0" fmla="*/ 2548255 w 2548255"/>
              <a:gd name="connsiteY0" fmla="*/ 0 h 3543300"/>
              <a:gd name="connsiteX1" fmla="*/ 0 w 2548255"/>
              <a:gd name="connsiteY1" fmla="*/ 1767840 h 3543300"/>
              <a:gd name="connsiteX2" fmla="*/ 2545080 w 2548255"/>
              <a:gd name="connsiteY2" fmla="*/ 3543300 h 3543300"/>
              <a:gd name="connsiteX3" fmla="*/ 2548255 w 2548255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  <a:gd name="connsiteX0" fmla="*/ 2551430 w 2551430"/>
              <a:gd name="connsiteY0" fmla="*/ 0 h 3543300"/>
              <a:gd name="connsiteX1" fmla="*/ 0 w 2551430"/>
              <a:gd name="connsiteY1" fmla="*/ 1767840 h 3543300"/>
              <a:gd name="connsiteX2" fmla="*/ 2545080 w 2551430"/>
              <a:gd name="connsiteY2" fmla="*/ 3543300 h 3543300"/>
              <a:gd name="connsiteX3" fmla="*/ 2551430 w 2551430"/>
              <a:gd name="connsiteY3" fmla="*/ 0 h 3543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1430" h="3543300">
                <a:moveTo>
                  <a:pt x="2551430" y="0"/>
                </a:moveTo>
                <a:lnTo>
                  <a:pt x="0" y="1767840"/>
                </a:lnTo>
                <a:lnTo>
                  <a:pt x="2545080" y="3543300"/>
                </a:lnTo>
                <a:cubicBezTo>
                  <a:pt x="2546138" y="2362200"/>
                  <a:pt x="2550372" y="1181100"/>
                  <a:pt x="2551430" y="0"/>
                </a:cubicBezTo>
                <a:close/>
              </a:path>
            </a:pathLst>
          </a:custGeom>
          <a:gradFill>
            <a:gsLst>
              <a:gs pos="20000">
                <a:schemeClr val="accent1"/>
              </a:gs>
              <a:gs pos="92000">
                <a:schemeClr val="accent1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F541E08-79B1-4FB4-B040-44031CD657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99" y="1371866"/>
            <a:ext cx="2230714" cy="2286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  <a:ea typeface="Cambria" panose="020405030504060302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E794FE20-82FD-46D6-9711-962A1049D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BAFECE-15A3-416B-B50A-EBF3EED088EC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D7DA9FC-4A8A-474C-A470-0A89FD6D35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1160" y="2408983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6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37082A0-E26A-4C9D-84EC-E66A1C56E1B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8869" y="4427669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2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06B4988-6484-41EF-A3B1-D23D8B5E83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11160" y="390296"/>
            <a:ext cx="6029604" cy="1692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accent1"/>
                </a:solidFill>
                <a:latin typeface="+mj-lt"/>
              </a:defRPr>
            </a:lvl1pPr>
            <a:lvl2pPr marL="252000" indent="-252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■"/>
              <a:defRPr lang="en-US" sz="1400" kern="1200" dirty="0">
                <a:solidFill>
                  <a:schemeClr val="bg1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840667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D2F9448-0442-4289-9A73-5E06016513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E1BFC2F-99FE-45E8-9D6F-546CAB2241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3385E9-575A-4E97-BE38-0A19A73B40A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060396" y="2764868"/>
            <a:ext cx="8131604" cy="4093132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1604" h="4093132">
                <a:moveTo>
                  <a:pt x="5893093" y="0"/>
                </a:moveTo>
                <a:lnTo>
                  <a:pt x="8131604" y="1558441"/>
                </a:lnTo>
                <a:lnTo>
                  <a:pt x="8129060" y="4093132"/>
                </a:lnTo>
                <a:lnTo>
                  <a:pt x="0" y="40931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EECBC3-0434-4E5B-80EB-F18E5858D660}"/>
              </a:ext>
            </a:extLst>
          </p:cNvPr>
          <p:cNvCxnSpPr>
            <a:cxnSpLocks/>
          </p:cNvCxnSpPr>
          <p:nvPr userDrawn="1"/>
        </p:nvCxnSpPr>
        <p:spPr>
          <a:xfrm>
            <a:off x="442799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BECDE2C7-ADDA-481D-93A9-E61494A648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9C7DB8-50DE-4F4D-8D3A-E1B644BEBD05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reeform: Shape 38">
            <a:extLst>
              <a:ext uri="{FF2B5EF4-FFF2-40B4-BE49-F238E27FC236}">
                <a16:creationId xmlns:a16="http://schemas.microsoft.com/office/drawing/2014/main" id="{5BEACAC3-A4D3-4A5A-BCBD-6A6FB904BDBC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8">
            <a:extLst>
              <a:ext uri="{FF2B5EF4-FFF2-40B4-BE49-F238E27FC236}">
                <a16:creationId xmlns:a16="http://schemas.microsoft.com/office/drawing/2014/main" id="{C2A9049B-2A71-4DF7-A59B-F291023D31D2}"/>
              </a:ext>
            </a:extLst>
          </p:cNvPr>
          <p:cNvSpPr/>
          <p:nvPr userDrawn="1"/>
        </p:nvSpPr>
        <p:spPr>
          <a:xfrm>
            <a:off x="10121759" y="2893156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2" name="Graphic 16">
            <a:extLst>
              <a:ext uri="{FF2B5EF4-FFF2-40B4-BE49-F238E27FC236}">
                <a16:creationId xmlns:a16="http://schemas.microsoft.com/office/drawing/2014/main" id="{F6E3B409-4284-FEFE-687F-2CC9F34A659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1690" y="3228422"/>
            <a:ext cx="2715762" cy="122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1142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2BB801F-CEBA-4CDD-B9F0-EBA65001B1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1013A4B-2C3A-4DE4-AACD-0C2F7C1BFAF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15775" y="10160"/>
            <a:ext cx="12219085" cy="6858000"/>
          </a:xfrm>
          <a:custGeom>
            <a:avLst/>
            <a:gdLst>
              <a:gd name="connsiteX0" fmla="*/ 5893093 w 8131604"/>
              <a:gd name="connsiteY0" fmla="*/ 0 h 4093132"/>
              <a:gd name="connsiteX1" fmla="*/ 8131604 w 8131604"/>
              <a:gd name="connsiteY1" fmla="*/ 1558441 h 4093132"/>
              <a:gd name="connsiteX2" fmla="*/ 8129060 w 8131604"/>
              <a:gd name="connsiteY2" fmla="*/ 4093132 h 4093132"/>
              <a:gd name="connsiteX3" fmla="*/ 0 w 8131604"/>
              <a:gd name="connsiteY3" fmla="*/ 4093132 h 4093132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1875275 w 8131604"/>
              <a:gd name="connsiteY4" fmla="*/ 0 h 6877896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6615 h 6884511"/>
              <a:gd name="connsiteX1" fmla="*/ 8537299 w 8537299"/>
              <a:gd name="connsiteY1" fmla="*/ 4349820 h 6884511"/>
              <a:gd name="connsiteX2" fmla="*/ 8534755 w 8537299"/>
              <a:gd name="connsiteY2" fmla="*/ 6884511 h 6884511"/>
              <a:gd name="connsiteX3" fmla="*/ 405695 w 8537299"/>
              <a:gd name="connsiteY3" fmla="*/ 6884511 h 6884511"/>
              <a:gd name="connsiteX4" fmla="*/ 1332935 w 8537299"/>
              <a:gd name="connsiteY4" fmla="*/ 3448584 h 6884511"/>
              <a:gd name="connsiteX5" fmla="*/ 2280970 w 8537299"/>
              <a:gd name="connsiteY5" fmla="*/ 6615 h 6884511"/>
              <a:gd name="connsiteX0" fmla="*/ 2280970 w 8537299"/>
              <a:gd name="connsiteY0" fmla="*/ 0 h 6877896"/>
              <a:gd name="connsiteX1" fmla="*/ 8537299 w 8537299"/>
              <a:gd name="connsiteY1" fmla="*/ 4343205 h 6877896"/>
              <a:gd name="connsiteX2" fmla="*/ 8534755 w 8537299"/>
              <a:gd name="connsiteY2" fmla="*/ 6877896 h 6877896"/>
              <a:gd name="connsiteX3" fmla="*/ 405695 w 8537299"/>
              <a:gd name="connsiteY3" fmla="*/ 6877896 h 6877896"/>
              <a:gd name="connsiteX4" fmla="*/ 1332935 w 8537299"/>
              <a:gd name="connsiteY4" fmla="*/ 3441969 h 6877896"/>
              <a:gd name="connsiteX5" fmla="*/ 2280970 w 8537299"/>
              <a:gd name="connsiteY5" fmla="*/ 0 h 6877896"/>
              <a:gd name="connsiteX0" fmla="*/ 1875275 w 8131604"/>
              <a:gd name="connsiteY0" fmla="*/ 0 h 6877896"/>
              <a:gd name="connsiteX1" fmla="*/ 8131604 w 8131604"/>
              <a:gd name="connsiteY1" fmla="*/ 4343205 h 6877896"/>
              <a:gd name="connsiteX2" fmla="*/ 8129060 w 8131604"/>
              <a:gd name="connsiteY2" fmla="*/ 6877896 h 6877896"/>
              <a:gd name="connsiteX3" fmla="*/ 0 w 8131604"/>
              <a:gd name="connsiteY3" fmla="*/ 6877896 h 6877896"/>
              <a:gd name="connsiteX4" fmla="*/ 927240 w 8131604"/>
              <a:gd name="connsiteY4" fmla="*/ 3441969 h 6877896"/>
              <a:gd name="connsiteX5" fmla="*/ 1875275 w 8131604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0 w 10044545"/>
              <a:gd name="connsiteY4" fmla="*/ 19896 h 6877896"/>
              <a:gd name="connsiteX5" fmla="*/ 3788216 w 10044545"/>
              <a:gd name="connsiteY5" fmla="*/ 0 h 6877896"/>
              <a:gd name="connsiteX0" fmla="*/ 3788216 w 10044545"/>
              <a:gd name="connsiteY0" fmla="*/ 0 h 6877896"/>
              <a:gd name="connsiteX1" fmla="*/ 10044545 w 10044545"/>
              <a:gd name="connsiteY1" fmla="*/ 4343205 h 6877896"/>
              <a:gd name="connsiteX2" fmla="*/ 10042001 w 10044545"/>
              <a:gd name="connsiteY2" fmla="*/ 6877896 h 6877896"/>
              <a:gd name="connsiteX3" fmla="*/ 1912941 w 10044545"/>
              <a:gd name="connsiteY3" fmla="*/ 6877896 h 6877896"/>
              <a:gd name="connsiteX4" fmla="*/ 526473 w 10044545"/>
              <a:gd name="connsiteY4" fmla="*/ 1945678 h 6877896"/>
              <a:gd name="connsiteX5" fmla="*/ 0 w 10044545"/>
              <a:gd name="connsiteY5" fmla="*/ 19896 h 6877896"/>
              <a:gd name="connsiteX6" fmla="*/ 3788216 w 10044545"/>
              <a:gd name="connsiteY6" fmla="*/ 0 h 6877896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98284 h 6976180"/>
              <a:gd name="connsiteX1" fmla="*/ 12205854 w 12205854"/>
              <a:gd name="connsiteY1" fmla="*/ 4441489 h 6976180"/>
              <a:gd name="connsiteX2" fmla="*/ 12203310 w 12205854"/>
              <a:gd name="connsiteY2" fmla="*/ 6976180 h 6976180"/>
              <a:gd name="connsiteX3" fmla="*/ 4074250 w 12205854"/>
              <a:gd name="connsiteY3" fmla="*/ 6976180 h 6976180"/>
              <a:gd name="connsiteX4" fmla="*/ 2687782 w 12205854"/>
              <a:gd name="connsiteY4" fmla="*/ 2043962 h 6976180"/>
              <a:gd name="connsiteX5" fmla="*/ 0 w 12205854"/>
              <a:gd name="connsiteY5" fmla="*/ 1642180 h 6976180"/>
              <a:gd name="connsiteX6" fmla="*/ 2161309 w 12205854"/>
              <a:gd name="connsiteY6" fmla="*/ 118180 h 6976180"/>
              <a:gd name="connsiteX7" fmla="*/ 5949525 w 12205854"/>
              <a:gd name="connsiteY7" fmla="*/ 98284 h 6976180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2687782 w 12205854"/>
              <a:gd name="connsiteY4" fmla="*/ 1945678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55418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05854"/>
              <a:gd name="connsiteY0" fmla="*/ 0 h 6877896"/>
              <a:gd name="connsiteX1" fmla="*/ 12205854 w 12205854"/>
              <a:gd name="connsiteY1" fmla="*/ 4343205 h 6877896"/>
              <a:gd name="connsiteX2" fmla="*/ 12203310 w 12205854"/>
              <a:gd name="connsiteY2" fmla="*/ 6877896 h 6877896"/>
              <a:gd name="connsiteX3" fmla="*/ 4074250 w 12205854"/>
              <a:gd name="connsiteY3" fmla="*/ 6877896 h 6877896"/>
              <a:gd name="connsiteX4" fmla="*/ 13855 w 12205854"/>
              <a:gd name="connsiteY4" fmla="*/ 6850187 h 6877896"/>
              <a:gd name="connsiteX5" fmla="*/ 0 w 12205854"/>
              <a:gd name="connsiteY5" fmla="*/ 1543896 h 6877896"/>
              <a:gd name="connsiteX6" fmla="*/ 2161309 w 12205854"/>
              <a:gd name="connsiteY6" fmla="*/ 19896 h 6877896"/>
              <a:gd name="connsiteX7" fmla="*/ 5949525 w 12205854"/>
              <a:gd name="connsiteY7" fmla="*/ 0 h 6877896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43896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96234 h 6987984"/>
              <a:gd name="connsiteX1" fmla="*/ 12205854 w 12217165"/>
              <a:gd name="connsiteY1" fmla="*/ 4439439 h 6987984"/>
              <a:gd name="connsiteX2" fmla="*/ 12217165 w 12217165"/>
              <a:gd name="connsiteY2" fmla="*/ 6987984 h 6987984"/>
              <a:gd name="connsiteX3" fmla="*/ 4074250 w 12217165"/>
              <a:gd name="connsiteY3" fmla="*/ 6974130 h 6987984"/>
              <a:gd name="connsiteX4" fmla="*/ 13855 w 12217165"/>
              <a:gd name="connsiteY4" fmla="*/ 6946421 h 6987984"/>
              <a:gd name="connsiteX5" fmla="*/ 0 w 12217165"/>
              <a:gd name="connsiteY5" fmla="*/ 1612421 h 6987984"/>
              <a:gd name="connsiteX6" fmla="*/ 2161309 w 12217165"/>
              <a:gd name="connsiteY6" fmla="*/ 116130 h 6987984"/>
              <a:gd name="connsiteX7" fmla="*/ 5949525 w 12217165"/>
              <a:gd name="connsiteY7" fmla="*/ 96234 h 6987984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49525 w 12217165"/>
              <a:gd name="connsiteY0" fmla="*/ 0 h 6891750"/>
              <a:gd name="connsiteX1" fmla="*/ 12205854 w 12217165"/>
              <a:gd name="connsiteY1" fmla="*/ 4343205 h 6891750"/>
              <a:gd name="connsiteX2" fmla="*/ 12217165 w 12217165"/>
              <a:gd name="connsiteY2" fmla="*/ 6891750 h 6891750"/>
              <a:gd name="connsiteX3" fmla="*/ 4074250 w 12217165"/>
              <a:gd name="connsiteY3" fmla="*/ 6877896 h 6891750"/>
              <a:gd name="connsiteX4" fmla="*/ 13855 w 12217165"/>
              <a:gd name="connsiteY4" fmla="*/ 6850187 h 6891750"/>
              <a:gd name="connsiteX5" fmla="*/ 0 w 12217165"/>
              <a:gd name="connsiteY5" fmla="*/ 1516187 h 6891750"/>
              <a:gd name="connsiteX6" fmla="*/ 2161309 w 12217165"/>
              <a:gd name="connsiteY6" fmla="*/ 19896 h 6891750"/>
              <a:gd name="connsiteX7" fmla="*/ 5949525 w 12217165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57979 w 12225619"/>
              <a:gd name="connsiteY0" fmla="*/ 0 h 6891750"/>
              <a:gd name="connsiteX1" fmla="*/ 12214308 w 12225619"/>
              <a:gd name="connsiteY1" fmla="*/ 4343205 h 6891750"/>
              <a:gd name="connsiteX2" fmla="*/ 12225619 w 12225619"/>
              <a:gd name="connsiteY2" fmla="*/ 6891750 h 6891750"/>
              <a:gd name="connsiteX3" fmla="*/ 4082704 w 12225619"/>
              <a:gd name="connsiteY3" fmla="*/ 6877896 h 6891750"/>
              <a:gd name="connsiteX4" fmla="*/ 22309 w 12225619"/>
              <a:gd name="connsiteY4" fmla="*/ 6850187 h 6891750"/>
              <a:gd name="connsiteX5" fmla="*/ 8454 w 12225619"/>
              <a:gd name="connsiteY5" fmla="*/ 1516187 h 6891750"/>
              <a:gd name="connsiteX6" fmla="*/ 0 w 12225619"/>
              <a:gd name="connsiteY6" fmla="*/ 19896 h 6891750"/>
              <a:gd name="connsiteX7" fmla="*/ 5957979 w 12225619"/>
              <a:gd name="connsiteY7" fmla="*/ 0 h 6891750"/>
              <a:gd name="connsiteX0" fmla="*/ 5949724 w 12217364"/>
              <a:gd name="connsiteY0" fmla="*/ 0 h 6891750"/>
              <a:gd name="connsiteX1" fmla="*/ 12206053 w 12217364"/>
              <a:gd name="connsiteY1" fmla="*/ 4343205 h 6891750"/>
              <a:gd name="connsiteX2" fmla="*/ 12217364 w 12217364"/>
              <a:gd name="connsiteY2" fmla="*/ 6891750 h 6891750"/>
              <a:gd name="connsiteX3" fmla="*/ 4074449 w 12217364"/>
              <a:gd name="connsiteY3" fmla="*/ 6877896 h 6891750"/>
              <a:gd name="connsiteX4" fmla="*/ 14054 w 12217364"/>
              <a:gd name="connsiteY4" fmla="*/ 6850187 h 6891750"/>
              <a:gd name="connsiteX5" fmla="*/ 199 w 12217364"/>
              <a:gd name="connsiteY5" fmla="*/ 1516187 h 6891750"/>
              <a:gd name="connsiteX6" fmla="*/ 22741 w 12217364"/>
              <a:gd name="connsiteY6" fmla="*/ 19896 h 6891750"/>
              <a:gd name="connsiteX7" fmla="*/ 5949724 w 12217364"/>
              <a:gd name="connsiteY7" fmla="*/ 0 h 6891750"/>
              <a:gd name="connsiteX0" fmla="*/ 5949936 w 12217576"/>
              <a:gd name="connsiteY0" fmla="*/ 0 h 6891750"/>
              <a:gd name="connsiteX1" fmla="*/ 12206265 w 12217576"/>
              <a:gd name="connsiteY1" fmla="*/ 4343205 h 6891750"/>
              <a:gd name="connsiteX2" fmla="*/ 12217576 w 12217576"/>
              <a:gd name="connsiteY2" fmla="*/ 6891750 h 6891750"/>
              <a:gd name="connsiteX3" fmla="*/ 4074661 w 12217576"/>
              <a:gd name="connsiteY3" fmla="*/ 6877896 h 6891750"/>
              <a:gd name="connsiteX4" fmla="*/ 14266 w 12217576"/>
              <a:gd name="connsiteY4" fmla="*/ 6850187 h 6891750"/>
              <a:gd name="connsiteX5" fmla="*/ 411 w 12217576"/>
              <a:gd name="connsiteY5" fmla="*/ 1516187 h 6891750"/>
              <a:gd name="connsiteX6" fmla="*/ 7455 w 12217576"/>
              <a:gd name="connsiteY6" fmla="*/ 19896 h 6891750"/>
              <a:gd name="connsiteX7" fmla="*/ 5949936 w 12217576"/>
              <a:gd name="connsiteY7" fmla="*/ 0 h 6891750"/>
              <a:gd name="connsiteX0" fmla="*/ 5951445 w 12219085"/>
              <a:gd name="connsiteY0" fmla="*/ 0 h 6891750"/>
              <a:gd name="connsiteX1" fmla="*/ 12207774 w 12219085"/>
              <a:gd name="connsiteY1" fmla="*/ 4343205 h 6891750"/>
              <a:gd name="connsiteX2" fmla="*/ 12219085 w 12219085"/>
              <a:gd name="connsiteY2" fmla="*/ 6891750 h 6891750"/>
              <a:gd name="connsiteX3" fmla="*/ 4076170 w 12219085"/>
              <a:gd name="connsiteY3" fmla="*/ 6877896 h 6891750"/>
              <a:gd name="connsiteX4" fmla="*/ 1261 w 12219085"/>
              <a:gd name="connsiteY4" fmla="*/ 6879216 h 6891750"/>
              <a:gd name="connsiteX5" fmla="*/ 1920 w 12219085"/>
              <a:gd name="connsiteY5" fmla="*/ 1516187 h 6891750"/>
              <a:gd name="connsiteX6" fmla="*/ 8964 w 12219085"/>
              <a:gd name="connsiteY6" fmla="*/ 19896 h 6891750"/>
              <a:gd name="connsiteX7" fmla="*/ 5951445 w 12219085"/>
              <a:gd name="connsiteY7" fmla="*/ 0 h 68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9085" h="6891750">
                <a:moveTo>
                  <a:pt x="5951445" y="0"/>
                </a:moveTo>
                <a:lnTo>
                  <a:pt x="12207774" y="4343205"/>
                </a:lnTo>
                <a:cubicBezTo>
                  <a:pt x="12211544" y="5192720"/>
                  <a:pt x="12215315" y="6042235"/>
                  <a:pt x="12219085" y="6891750"/>
                </a:cubicBezTo>
                <a:lnTo>
                  <a:pt x="4076170" y="6877896"/>
                </a:lnTo>
                <a:lnTo>
                  <a:pt x="1261" y="6879216"/>
                </a:lnTo>
                <a:cubicBezTo>
                  <a:pt x="-3357" y="5110452"/>
                  <a:pt x="6538" y="3284951"/>
                  <a:pt x="1920" y="1516187"/>
                </a:cubicBezTo>
                <a:cubicBezTo>
                  <a:pt x="-898" y="1001925"/>
                  <a:pt x="11782" y="518660"/>
                  <a:pt x="8964" y="19896"/>
                </a:cubicBezTo>
                <a:lnTo>
                  <a:pt x="5951445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Insert Picture</a:t>
            </a:r>
            <a:br>
              <a:rPr lang="en-GB"/>
            </a:br>
            <a:r>
              <a:rPr lang="en-GB"/>
              <a:t>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FDCD53E-B970-474F-A296-7F5D3D3670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799" y="2596681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F4D0EB71-A2B4-47F8-A43C-B44A52DA54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96BF9C-3A9B-4F3E-9F61-1D941B653E9B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ACD4190-9BC7-4476-AF83-E6D1A2BFB31D}"/>
              </a:ext>
            </a:extLst>
          </p:cNvPr>
          <p:cNvSpPr/>
          <p:nvPr userDrawn="1"/>
        </p:nvSpPr>
        <p:spPr>
          <a:xfrm rot="4191016">
            <a:off x="5605571" y="-500976"/>
            <a:ext cx="4556496" cy="3926865"/>
          </a:xfrm>
          <a:custGeom>
            <a:avLst/>
            <a:gdLst>
              <a:gd name="connsiteX0" fmla="*/ 0 w 4334440"/>
              <a:gd name="connsiteY0" fmla="*/ 3511955 h 3511955"/>
              <a:gd name="connsiteX1" fmla="*/ 262493 w 4334440"/>
              <a:gd name="connsiteY1" fmla="*/ 2796583 h 3511955"/>
              <a:gd name="connsiteX2" fmla="*/ 262496 w 4334440"/>
              <a:gd name="connsiteY2" fmla="*/ 2796578 h 3511955"/>
              <a:gd name="connsiteX3" fmla="*/ 4248813 w 4334440"/>
              <a:gd name="connsiteY3" fmla="*/ 0 h 3511955"/>
              <a:gd name="connsiteX4" fmla="*/ 4334440 w 4334440"/>
              <a:gd name="connsiteY4" fmla="*/ 478363 h 3511955"/>
              <a:gd name="connsiteX0" fmla="*/ 0 w 4486684"/>
              <a:gd name="connsiteY0" fmla="*/ 3926865 h 3926865"/>
              <a:gd name="connsiteX1" fmla="*/ 414737 w 4486684"/>
              <a:gd name="connsiteY1" fmla="*/ 2796583 h 3926865"/>
              <a:gd name="connsiteX2" fmla="*/ 414740 w 4486684"/>
              <a:gd name="connsiteY2" fmla="*/ 2796578 h 3926865"/>
              <a:gd name="connsiteX3" fmla="*/ 4401057 w 4486684"/>
              <a:gd name="connsiteY3" fmla="*/ 0 h 3926865"/>
              <a:gd name="connsiteX4" fmla="*/ 4486684 w 4486684"/>
              <a:gd name="connsiteY4" fmla="*/ 478363 h 3926865"/>
              <a:gd name="connsiteX5" fmla="*/ 0 w 4486684"/>
              <a:gd name="connsiteY5" fmla="*/ 3926865 h 3926865"/>
              <a:gd name="connsiteX0" fmla="*/ 0 w 4558884"/>
              <a:gd name="connsiteY0" fmla="*/ 3926865 h 3926865"/>
              <a:gd name="connsiteX1" fmla="*/ 414737 w 4558884"/>
              <a:gd name="connsiteY1" fmla="*/ 2796583 h 3926865"/>
              <a:gd name="connsiteX2" fmla="*/ 414740 w 4558884"/>
              <a:gd name="connsiteY2" fmla="*/ 2796578 h 3926865"/>
              <a:gd name="connsiteX3" fmla="*/ 4401057 w 4558884"/>
              <a:gd name="connsiteY3" fmla="*/ 0 h 3926865"/>
              <a:gd name="connsiteX4" fmla="*/ 4558884 w 4558884"/>
              <a:gd name="connsiteY4" fmla="*/ 724009 h 3926865"/>
              <a:gd name="connsiteX5" fmla="*/ 0 w 4558884"/>
              <a:gd name="connsiteY5" fmla="*/ 3926865 h 3926865"/>
              <a:gd name="connsiteX0" fmla="*/ 0 w 4510808"/>
              <a:gd name="connsiteY0" fmla="*/ 3926865 h 3926865"/>
              <a:gd name="connsiteX1" fmla="*/ 414737 w 4510808"/>
              <a:gd name="connsiteY1" fmla="*/ 2796583 h 3926865"/>
              <a:gd name="connsiteX2" fmla="*/ 414740 w 4510808"/>
              <a:gd name="connsiteY2" fmla="*/ 2796578 h 3926865"/>
              <a:gd name="connsiteX3" fmla="*/ 4401057 w 4510808"/>
              <a:gd name="connsiteY3" fmla="*/ 0 h 3926865"/>
              <a:gd name="connsiteX4" fmla="*/ 4510808 w 4510808"/>
              <a:gd name="connsiteY4" fmla="*/ 652256 h 3926865"/>
              <a:gd name="connsiteX5" fmla="*/ 0 w 4510808"/>
              <a:gd name="connsiteY5" fmla="*/ 3926865 h 3926865"/>
              <a:gd name="connsiteX0" fmla="*/ 0 w 4556496"/>
              <a:gd name="connsiteY0" fmla="*/ 3926865 h 3926865"/>
              <a:gd name="connsiteX1" fmla="*/ 414737 w 4556496"/>
              <a:gd name="connsiteY1" fmla="*/ 2796583 h 3926865"/>
              <a:gd name="connsiteX2" fmla="*/ 414740 w 4556496"/>
              <a:gd name="connsiteY2" fmla="*/ 2796578 h 3926865"/>
              <a:gd name="connsiteX3" fmla="*/ 4401057 w 4556496"/>
              <a:gd name="connsiteY3" fmla="*/ 0 h 3926865"/>
              <a:gd name="connsiteX4" fmla="*/ 4556496 w 4556496"/>
              <a:gd name="connsiteY4" fmla="*/ 712633 h 3926865"/>
              <a:gd name="connsiteX5" fmla="*/ 0 w 4556496"/>
              <a:gd name="connsiteY5" fmla="*/ 3926865 h 3926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56496" h="3926865">
                <a:moveTo>
                  <a:pt x="0" y="3926865"/>
                </a:moveTo>
                <a:lnTo>
                  <a:pt x="414737" y="2796583"/>
                </a:lnTo>
                <a:cubicBezTo>
                  <a:pt x="414738" y="2796581"/>
                  <a:pt x="414739" y="2796580"/>
                  <a:pt x="414740" y="2796578"/>
                </a:cubicBezTo>
                <a:lnTo>
                  <a:pt x="4401057" y="0"/>
                </a:lnTo>
                <a:lnTo>
                  <a:pt x="4556496" y="712633"/>
                </a:lnTo>
                <a:lnTo>
                  <a:pt x="0" y="392686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5000">
                <a:schemeClr val="accent2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84BD3FC-E6DB-474F-B265-92A120F91168}"/>
              </a:ext>
            </a:extLst>
          </p:cNvPr>
          <p:cNvSpPr/>
          <p:nvPr userDrawn="1"/>
        </p:nvSpPr>
        <p:spPr>
          <a:xfrm flipH="1">
            <a:off x="9184940" y="2369821"/>
            <a:ext cx="3007058" cy="2897317"/>
          </a:xfrm>
          <a:custGeom>
            <a:avLst/>
            <a:gdLst>
              <a:gd name="connsiteX0" fmla="*/ 1859431 w 3013735"/>
              <a:gd name="connsiteY0" fmla="*/ 0 h 2897317"/>
              <a:gd name="connsiteX1" fmla="*/ 0 w 3013735"/>
              <a:gd name="connsiteY1" fmla="*/ 1291679 h 2897317"/>
              <a:gd name="connsiteX2" fmla="*/ 0 w 3013735"/>
              <a:gd name="connsiteY2" fmla="*/ 2897317 h 2897317"/>
              <a:gd name="connsiteX3" fmla="*/ 3013735 w 3013735"/>
              <a:gd name="connsiteY3" fmla="*/ 797615 h 289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3735" h="2897317">
                <a:moveTo>
                  <a:pt x="1859431" y="0"/>
                </a:moveTo>
                <a:lnTo>
                  <a:pt x="0" y="1291679"/>
                </a:lnTo>
                <a:lnTo>
                  <a:pt x="0" y="2897317"/>
                </a:lnTo>
                <a:lnTo>
                  <a:pt x="3013735" y="797615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85000">
                <a:schemeClr val="accent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" name="Graphic 16">
            <a:extLst>
              <a:ext uri="{FF2B5EF4-FFF2-40B4-BE49-F238E27FC236}">
                <a16:creationId xmlns:a16="http://schemas.microsoft.com/office/drawing/2014/main" id="{4C2CC3C1-3FDF-723D-CC7D-2309440C675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17887" y="78394"/>
            <a:ext cx="2715762" cy="122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7485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3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5AB1DB6-D127-4F7D-B30A-D354F9CD8F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5F0F5E84-3D08-463C-A2F4-3F622F79D6AE}"/>
              </a:ext>
            </a:extLst>
          </p:cNvPr>
          <p:cNvSpPr/>
          <p:nvPr userDrawn="1"/>
        </p:nvSpPr>
        <p:spPr>
          <a:xfrm rot="16200000">
            <a:off x="9386887" y="4069666"/>
            <a:ext cx="2805111" cy="280511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635DDF-EA99-074A-B8AA-6DB89B54130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88272" y="1212712"/>
            <a:ext cx="8103729" cy="5645288"/>
          </a:xfrm>
          <a:custGeom>
            <a:avLst/>
            <a:gdLst>
              <a:gd name="connsiteX0" fmla="*/ 8103729 w 8103729"/>
              <a:gd name="connsiteY0" fmla="*/ 0 h 5645288"/>
              <a:gd name="connsiteX1" fmla="*/ 8103729 w 8103729"/>
              <a:gd name="connsiteY1" fmla="*/ 4023746 h 5645288"/>
              <a:gd name="connsiteX2" fmla="*/ 5764894 w 8103729"/>
              <a:gd name="connsiteY2" fmla="*/ 5645288 h 5645288"/>
              <a:gd name="connsiteX3" fmla="*/ 0 w 8103729"/>
              <a:gd name="connsiteY3" fmla="*/ 5645288 h 5645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03729" h="5645288">
                <a:moveTo>
                  <a:pt x="8103729" y="0"/>
                </a:moveTo>
                <a:lnTo>
                  <a:pt x="8103729" y="4023746"/>
                </a:lnTo>
                <a:lnTo>
                  <a:pt x="5764894" y="5645288"/>
                </a:lnTo>
                <a:lnTo>
                  <a:pt x="0" y="5645288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8871D4E-8962-41E4-B7BC-D6881361F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800" y="2122014"/>
            <a:ext cx="4135319" cy="990000"/>
          </a:xfrm>
        </p:spPr>
        <p:txBody>
          <a:bodyPr lIns="0" anchor="t">
            <a:noAutofit/>
          </a:bodyPr>
          <a:lstStyle>
            <a:lvl1pPr>
              <a:defRPr lang="en-GB" sz="600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lnSpc>
                <a:spcPct val="90000"/>
              </a:lnSpc>
              <a:spcBef>
                <a:spcPts val="1000"/>
              </a:spcBef>
              <a:buFontTx/>
            </a:pPr>
            <a:r>
              <a:rPr lang="en-US"/>
              <a:t>Thank you.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AB3759-2ABA-419B-8B4A-9D837809ED6D}"/>
              </a:ext>
            </a:extLst>
          </p:cNvPr>
          <p:cNvCxnSpPr/>
          <p:nvPr userDrawn="1"/>
        </p:nvCxnSpPr>
        <p:spPr>
          <a:xfrm>
            <a:off x="442800" y="3214819"/>
            <a:ext cx="493200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2A88DD9-1E9D-4979-91FB-355894EC6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D8CA00-0351-4439-80FC-0A747C092426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>
                <a:solidFill>
                  <a:schemeClr val="bg1"/>
                </a:solidFill>
              </a:rPr>
              <a:pPr lvl="0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Freeform: Shape 38">
            <a:extLst>
              <a:ext uri="{FF2B5EF4-FFF2-40B4-BE49-F238E27FC236}">
                <a16:creationId xmlns:a16="http://schemas.microsoft.com/office/drawing/2014/main" id="{D7F1981D-B15C-4509-BD6A-04D49D3FAFB5}"/>
              </a:ext>
            </a:extLst>
          </p:cNvPr>
          <p:cNvSpPr/>
          <p:nvPr userDrawn="1"/>
        </p:nvSpPr>
        <p:spPr>
          <a:xfrm>
            <a:off x="2929209" y="4829173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20">
            <a:extLst>
              <a:ext uri="{FF2B5EF4-FFF2-40B4-BE49-F238E27FC236}">
                <a16:creationId xmlns:a16="http://schemas.microsoft.com/office/drawing/2014/main" id="{3F6CD97A-AEFF-4042-B3F6-70888095713D}"/>
              </a:ext>
            </a:extLst>
          </p:cNvPr>
          <p:cNvSpPr/>
          <p:nvPr userDrawn="1"/>
        </p:nvSpPr>
        <p:spPr>
          <a:xfrm flipH="1">
            <a:off x="8774596" y="4407877"/>
            <a:ext cx="3417404" cy="2450123"/>
          </a:xfrm>
          <a:custGeom>
            <a:avLst/>
            <a:gdLst>
              <a:gd name="connsiteX0" fmla="*/ 0 w 4791075"/>
              <a:gd name="connsiteY0" fmla="*/ 1114425 h 2209800"/>
              <a:gd name="connsiteX1" fmla="*/ 1619250 w 4791075"/>
              <a:gd name="connsiteY1" fmla="*/ 0 h 2209800"/>
              <a:gd name="connsiteX2" fmla="*/ 4791075 w 4791075"/>
              <a:gd name="connsiteY2" fmla="*/ 2209800 h 2209800"/>
              <a:gd name="connsiteX3" fmla="*/ 19050 w 4791075"/>
              <a:gd name="connsiteY3" fmla="*/ 2209800 h 2209800"/>
              <a:gd name="connsiteX4" fmla="*/ 0 w 4791075"/>
              <a:gd name="connsiteY4" fmla="*/ 1114425 h 2209800"/>
              <a:gd name="connsiteX0" fmla="*/ 3175 w 4794250"/>
              <a:gd name="connsiteY0" fmla="*/ 1114425 h 2209800"/>
              <a:gd name="connsiteX1" fmla="*/ 1622425 w 4794250"/>
              <a:gd name="connsiteY1" fmla="*/ 0 h 2209800"/>
              <a:gd name="connsiteX2" fmla="*/ 4794250 w 4794250"/>
              <a:gd name="connsiteY2" fmla="*/ 2209800 h 2209800"/>
              <a:gd name="connsiteX3" fmla="*/ 0 w 4794250"/>
              <a:gd name="connsiteY3" fmla="*/ 2209800 h 2209800"/>
              <a:gd name="connsiteX4" fmla="*/ 3175 w 4794250"/>
              <a:gd name="connsiteY4" fmla="*/ 1114425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119338 w 4913588"/>
              <a:gd name="connsiteY3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119338 w 4913588"/>
              <a:gd name="connsiteY4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4913588 w 4913588"/>
              <a:gd name="connsiteY2" fmla="*/ 2209800 h 2209800"/>
              <a:gd name="connsiteX3" fmla="*/ 2404721 w 4913588"/>
              <a:gd name="connsiteY3" fmla="*/ 2201134 h 2209800"/>
              <a:gd name="connsiteX4" fmla="*/ 2404721 w 4913588"/>
              <a:gd name="connsiteY4" fmla="*/ 2201134 h 2209800"/>
              <a:gd name="connsiteX5" fmla="*/ 119338 w 4913588"/>
              <a:gd name="connsiteY5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4913588 w 4913588"/>
              <a:gd name="connsiteY3" fmla="*/ 2209800 h 2209800"/>
              <a:gd name="connsiteX4" fmla="*/ 2404721 w 4913588"/>
              <a:gd name="connsiteY4" fmla="*/ 2201134 h 2209800"/>
              <a:gd name="connsiteX5" fmla="*/ 2404721 w 4913588"/>
              <a:gd name="connsiteY5" fmla="*/ 2201134 h 2209800"/>
              <a:gd name="connsiteX6" fmla="*/ 119338 w 4913588"/>
              <a:gd name="connsiteY6" fmla="*/ 2209800 h 2209800"/>
              <a:gd name="connsiteX0" fmla="*/ 119338 w 4913588"/>
              <a:gd name="connsiteY0" fmla="*/ 2209800 h 2209800"/>
              <a:gd name="connsiteX1" fmla="*/ 1741763 w 4913588"/>
              <a:gd name="connsiteY1" fmla="*/ 0 h 2209800"/>
              <a:gd name="connsiteX2" fmla="*/ 2387390 w 4913588"/>
              <a:gd name="connsiteY2" fmla="*/ 398631 h 2209800"/>
              <a:gd name="connsiteX3" fmla="*/ 2404721 w 4913588"/>
              <a:gd name="connsiteY3" fmla="*/ 398631 h 2209800"/>
              <a:gd name="connsiteX4" fmla="*/ 4913588 w 4913588"/>
              <a:gd name="connsiteY4" fmla="*/ 2209800 h 2209800"/>
              <a:gd name="connsiteX5" fmla="*/ 2404721 w 4913588"/>
              <a:gd name="connsiteY5" fmla="*/ 2201134 h 2209800"/>
              <a:gd name="connsiteX6" fmla="*/ 2404721 w 4913588"/>
              <a:gd name="connsiteY6" fmla="*/ 2201134 h 2209800"/>
              <a:gd name="connsiteX7" fmla="*/ 119338 w 4913588"/>
              <a:gd name="connsiteY7" fmla="*/ 2209800 h 2209800"/>
              <a:gd name="connsiteX0" fmla="*/ 4 w 4794254"/>
              <a:gd name="connsiteY0" fmla="*/ 1811169 h 1811169"/>
              <a:gd name="connsiteX1" fmla="*/ 2268056 w 4794254"/>
              <a:gd name="connsiteY1" fmla="*/ 0 h 1811169"/>
              <a:gd name="connsiteX2" fmla="*/ 2285387 w 4794254"/>
              <a:gd name="connsiteY2" fmla="*/ 0 h 1811169"/>
              <a:gd name="connsiteX3" fmla="*/ 4794254 w 4794254"/>
              <a:gd name="connsiteY3" fmla="*/ 1811169 h 1811169"/>
              <a:gd name="connsiteX4" fmla="*/ 2285387 w 4794254"/>
              <a:gd name="connsiteY4" fmla="*/ 1802503 h 1811169"/>
              <a:gd name="connsiteX5" fmla="*/ 2285387 w 4794254"/>
              <a:gd name="connsiteY5" fmla="*/ 1802503 h 1811169"/>
              <a:gd name="connsiteX6" fmla="*/ 4 w 4794254"/>
              <a:gd name="connsiteY6" fmla="*/ 1811169 h 1811169"/>
              <a:gd name="connsiteX0" fmla="*/ 17331 w 2526198"/>
              <a:gd name="connsiteY0" fmla="*/ 1802503 h 1811169"/>
              <a:gd name="connsiteX1" fmla="*/ 0 w 2526198"/>
              <a:gd name="connsiteY1" fmla="*/ 0 h 1811169"/>
              <a:gd name="connsiteX2" fmla="*/ 17331 w 2526198"/>
              <a:gd name="connsiteY2" fmla="*/ 0 h 1811169"/>
              <a:gd name="connsiteX3" fmla="*/ 2526198 w 2526198"/>
              <a:gd name="connsiteY3" fmla="*/ 1811169 h 1811169"/>
              <a:gd name="connsiteX4" fmla="*/ 17331 w 2526198"/>
              <a:gd name="connsiteY4" fmla="*/ 1802503 h 1811169"/>
              <a:gd name="connsiteX5" fmla="*/ 17331 w 2526198"/>
              <a:gd name="connsiteY5" fmla="*/ 1802503 h 181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6198" h="1811169">
                <a:moveTo>
                  <a:pt x="17331" y="1802503"/>
                </a:moveTo>
                <a:lnTo>
                  <a:pt x="0" y="0"/>
                </a:lnTo>
                <a:lnTo>
                  <a:pt x="17331" y="0"/>
                </a:lnTo>
                <a:lnTo>
                  <a:pt x="2526198" y="1811169"/>
                </a:lnTo>
                <a:lnTo>
                  <a:pt x="17331" y="1802503"/>
                </a:lnTo>
                <a:lnTo>
                  <a:pt x="17331" y="1802503"/>
                </a:lnTo>
                <a:close/>
              </a:path>
            </a:pathLst>
          </a:custGeom>
          <a:gradFill>
            <a:gsLst>
              <a:gs pos="20000">
                <a:schemeClr val="accent2"/>
              </a:gs>
              <a:gs pos="97000">
                <a:schemeClr val="accent2">
                  <a:alpha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>
              <a:solidFill>
                <a:schemeClr val="lt1"/>
              </a:solidFill>
            </a:endParaRPr>
          </a:p>
        </p:txBody>
      </p:sp>
      <p:pic>
        <p:nvPicPr>
          <p:cNvPr id="2" name="Graphic 16">
            <a:extLst>
              <a:ext uri="{FF2B5EF4-FFF2-40B4-BE49-F238E27FC236}">
                <a16:creationId xmlns:a16="http://schemas.microsoft.com/office/drawing/2014/main" id="{2CE29463-51EA-0E84-80C4-C874C5C2D09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1690" y="3228422"/>
            <a:ext cx="2715762" cy="1227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300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4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95938D1-A43B-478A-AAD9-7A2746560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" y="-3770"/>
            <a:ext cx="12193200" cy="6865540"/>
          </a:xfrm>
          <a:prstGeom prst="rect">
            <a:avLst/>
          </a:prstGeom>
          <a:noFill/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197EE4D-06D9-6D48-B606-48101EB6874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4990" y="0"/>
            <a:ext cx="5724910" cy="6858000"/>
          </a:xfrm>
          <a:custGeom>
            <a:avLst/>
            <a:gdLst>
              <a:gd name="connsiteX0" fmla="*/ 3899193 w 5724910"/>
              <a:gd name="connsiteY0" fmla="*/ 0 h 6858000"/>
              <a:gd name="connsiteX1" fmla="*/ 5724910 w 5724910"/>
              <a:gd name="connsiteY1" fmla="*/ 0 h 6858000"/>
              <a:gd name="connsiteX2" fmla="*/ 5724910 w 5724910"/>
              <a:gd name="connsiteY2" fmla="*/ 4117441 h 6858000"/>
              <a:gd name="connsiteX3" fmla="*/ 1757271 w 5724910"/>
              <a:gd name="connsiteY3" fmla="*/ 6858000 h 6858000"/>
              <a:gd name="connsiteX4" fmla="*/ 0 w 5724910"/>
              <a:gd name="connsiteY4" fmla="*/ 6854510 h 6858000"/>
              <a:gd name="connsiteX5" fmla="*/ 10128 w 5724910"/>
              <a:gd name="connsiteY5" fmla="*/ 270433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24910" h="6858000">
                <a:moveTo>
                  <a:pt x="3899193" y="0"/>
                </a:moveTo>
                <a:lnTo>
                  <a:pt x="5724910" y="0"/>
                </a:lnTo>
                <a:lnTo>
                  <a:pt x="5724910" y="4117441"/>
                </a:lnTo>
                <a:lnTo>
                  <a:pt x="1757271" y="6858000"/>
                </a:lnTo>
                <a:lnTo>
                  <a:pt x="0" y="6854510"/>
                </a:lnTo>
                <a:lnTo>
                  <a:pt x="10128" y="270433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 anchorCtr="0">
            <a:noAutofit/>
          </a:bodyPr>
          <a:lstStyle>
            <a:lvl1pPr>
              <a:defRPr lang="en-GB" sz="180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90C636B-5A5D-4399-980F-44E3735BC7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2415" y="2040219"/>
            <a:ext cx="4004632" cy="97037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6000" dirty="0">
                <a:solidFill>
                  <a:schemeClr val="bg1"/>
                </a:solidFill>
              </a:defRPr>
            </a:lvl1pPr>
          </a:lstStyle>
          <a:p>
            <a:pPr marR="0" lvl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Thank you</a:t>
            </a:r>
            <a:endParaRPr lang="en-GB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218638D0-EA79-4658-BBAF-F7CBC3D7A6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42416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8" name="Freeform: Shape 38">
            <a:extLst>
              <a:ext uri="{FF2B5EF4-FFF2-40B4-BE49-F238E27FC236}">
                <a16:creationId xmlns:a16="http://schemas.microsoft.com/office/drawing/2014/main" id="{88DD9336-317D-4740-9853-D4062BAB0838}"/>
              </a:ext>
            </a:extLst>
          </p:cNvPr>
          <p:cNvSpPr/>
          <p:nvPr userDrawn="1"/>
        </p:nvSpPr>
        <p:spPr>
          <a:xfrm>
            <a:off x="1173742" y="4827938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1">
                  <a:alpha val="1000"/>
                </a:schemeClr>
              </a:gs>
              <a:gs pos="74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Freeform: Shape 38">
            <a:extLst>
              <a:ext uri="{FF2B5EF4-FFF2-40B4-BE49-F238E27FC236}">
                <a16:creationId xmlns:a16="http://schemas.microsoft.com/office/drawing/2014/main" id="{98B81505-8EBE-43E4-B7C6-0E608556BE6D}"/>
              </a:ext>
            </a:extLst>
          </p:cNvPr>
          <p:cNvSpPr/>
          <p:nvPr userDrawn="1"/>
        </p:nvSpPr>
        <p:spPr>
          <a:xfrm rot="10800000">
            <a:off x="137450" y="1"/>
            <a:ext cx="5010130" cy="2030062"/>
          </a:xfrm>
          <a:custGeom>
            <a:avLst/>
            <a:gdLst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38850"/>
              <a:gd name="connsiteY0" fmla="*/ 2428875 h 2438400"/>
              <a:gd name="connsiteX1" fmla="*/ 3505200 w 6038850"/>
              <a:gd name="connsiteY1" fmla="*/ 0 h 2438400"/>
              <a:gd name="connsiteX2" fmla="*/ 6038850 w 6038850"/>
              <a:gd name="connsiteY2" fmla="*/ 0 h 2438400"/>
              <a:gd name="connsiteX3" fmla="*/ 2571750 w 6038850"/>
              <a:gd name="connsiteY3" fmla="*/ 2438400 h 2438400"/>
              <a:gd name="connsiteX4" fmla="*/ 0 w 6038850"/>
              <a:gd name="connsiteY4" fmla="*/ 2428875 h 2438400"/>
              <a:gd name="connsiteX0" fmla="*/ 0 w 6008370"/>
              <a:gd name="connsiteY0" fmla="*/ 2428875 h 2438400"/>
              <a:gd name="connsiteX1" fmla="*/ 3474720 w 6008370"/>
              <a:gd name="connsiteY1" fmla="*/ 0 h 2438400"/>
              <a:gd name="connsiteX2" fmla="*/ 6008370 w 6008370"/>
              <a:gd name="connsiteY2" fmla="*/ 0 h 2438400"/>
              <a:gd name="connsiteX3" fmla="*/ 2541270 w 6008370"/>
              <a:gd name="connsiteY3" fmla="*/ 2438400 h 2438400"/>
              <a:gd name="connsiteX4" fmla="*/ 0 w 6008370"/>
              <a:gd name="connsiteY4" fmla="*/ 2428875 h 2438400"/>
              <a:gd name="connsiteX0" fmla="*/ 0 w 6017895"/>
              <a:gd name="connsiteY0" fmla="*/ 2438400 h 2438400"/>
              <a:gd name="connsiteX1" fmla="*/ 3484245 w 6017895"/>
              <a:gd name="connsiteY1" fmla="*/ 0 h 2438400"/>
              <a:gd name="connsiteX2" fmla="*/ 6017895 w 6017895"/>
              <a:gd name="connsiteY2" fmla="*/ 0 h 2438400"/>
              <a:gd name="connsiteX3" fmla="*/ 2550795 w 6017895"/>
              <a:gd name="connsiteY3" fmla="*/ 2438400 h 2438400"/>
              <a:gd name="connsiteX4" fmla="*/ 0 w 6017895"/>
              <a:gd name="connsiteY4" fmla="*/ 243840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895" h="2438400">
                <a:moveTo>
                  <a:pt x="0" y="2438400"/>
                </a:moveTo>
                <a:lnTo>
                  <a:pt x="3484245" y="0"/>
                </a:lnTo>
                <a:lnTo>
                  <a:pt x="6017895" y="0"/>
                </a:lnTo>
                <a:lnTo>
                  <a:pt x="2550795" y="2438400"/>
                </a:lnTo>
                <a:lnTo>
                  <a:pt x="0" y="2438400"/>
                </a:lnTo>
                <a:close/>
              </a:path>
            </a:pathLst>
          </a:custGeom>
          <a:gradFill>
            <a:gsLst>
              <a:gs pos="3000">
                <a:schemeClr val="accent2">
                  <a:alpha val="0"/>
                </a:schemeClr>
              </a:gs>
              <a:gs pos="74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7176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25.xml"/><Relationship Id="rId42" Type="http://schemas.openxmlformats.org/officeDocument/2006/relationships/slideLayout" Target="../slideLayouts/slideLayout46.xml"/><Relationship Id="rId47" Type="http://schemas.openxmlformats.org/officeDocument/2006/relationships/slideLayout" Target="../slideLayouts/slideLayout51.xml"/><Relationship Id="rId63" Type="http://schemas.openxmlformats.org/officeDocument/2006/relationships/slideLayout" Target="../slideLayouts/slideLayout67.xml"/><Relationship Id="rId68" Type="http://schemas.openxmlformats.org/officeDocument/2006/relationships/slideLayout" Target="../slideLayouts/slideLayout72.xml"/><Relationship Id="rId84" Type="http://schemas.openxmlformats.org/officeDocument/2006/relationships/slideLayout" Target="../slideLayouts/slideLayout88.xml"/><Relationship Id="rId89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15.xml"/><Relationship Id="rId32" Type="http://schemas.openxmlformats.org/officeDocument/2006/relationships/slideLayout" Target="../slideLayouts/slideLayout36.xml"/><Relationship Id="rId37" Type="http://schemas.openxmlformats.org/officeDocument/2006/relationships/slideLayout" Target="../slideLayouts/slideLayout41.xml"/><Relationship Id="rId53" Type="http://schemas.openxmlformats.org/officeDocument/2006/relationships/slideLayout" Target="../slideLayouts/slideLayout57.xml"/><Relationship Id="rId58" Type="http://schemas.openxmlformats.org/officeDocument/2006/relationships/slideLayout" Target="../slideLayouts/slideLayout62.xml"/><Relationship Id="rId74" Type="http://schemas.openxmlformats.org/officeDocument/2006/relationships/slideLayout" Target="../slideLayouts/slideLayout78.xml"/><Relationship Id="rId79" Type="http://schemas.openxmlformats.org/officeDocument/2006/relationships/slideLayout" Target="../slideLayouts/slideLayout83.xml"/><Relationship Id="rId5" Type="http://schemas.openxmlformats.org/officeDocument/2006/relationships/slideLayout" Target="../slideLayouts/slideLayout9.xml"/><Relationship Id="rId90" Type="http://schemas.openxmlformats.org/officeDocument/2006/relationships/slideLayout" Target="../slideLayouts/slideLayout94.xml"/><Relationship Id="rId95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31.xml"/><Relationship Id="rId43" Type="http://schemas.openxmlformats.org/officeDocument/2006/relationships/slideLayout" Target="../slideLayouts/slideLayout47.xml"/><Relationship Id="rId48" Type="http://schemas.openxmlformats.org/officeDocument/2006/relationships/slideLayout" Target="../slideLayouts/slideLayout52.xml"/><Relationship Id="rId64" Type="http://schemas.openxmlformats.org/officeDocument/2006/relationships/slideLayout" Target="../slideLayouts/slideLayout68.xml"/><Relationship Id="rId69" Type="http://schemas.openxmlformats.org/officeDocument/2006/relationships/slideLayout" Target="../slideLayouts/slideLayout73.xml"/><Relationship Id="rId80" Type="http://schemas.openxmlformats.org/officeDocument/2006/relationships/slideLayout" Target="../slideLayouts/slideLayout84.xml"/><Relationship Id="rId85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33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42.xml"/><Relationship Id="rId46" Type="http://schemas.openxmlformats.org/officeDocument/2006/relationships/slideLayout" Target="../slideLayouts/slideLayout50.xml"/><Relationship Id="rId59" Type="http://schemas.openxmlformats.org/officeDocument/2006/relationships/slideLayout" Target="../slideLayouts/slideLayout63.xml"/><Relationship Id="rId67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24.xml"/><Relationship Id="rId41" Type="http://schemas.openxmlformats.org/officeDocument/2006/relationships/slideLayout" Target="../slideLayouts/slideLayout45.xml"/><Relationship Id="rId54" Type="http://schemas.openxmlformats.org/officeDocument/2006/relationships/slideLayout" Target="../slideLayouts/slideLayout58.xml"/><Relationship Id="rId62" Type="http://schemas.openxmlformats.org/officeDocument/2006/relationships/slideLayout" Target="../slideLayouts/slideLayout66.xml"/><Relationship Id="rId70" Type="http://schemas.openxmlformats.org/officeDocument/2006/relationships/slideLayout" Target="../slideLayouts/slideLayout74.xml"/><Relationship Id="rId75" Type="http://schemas.openxmlformats.org/officeDocument/2006/relationships/slideLayout" Target="../slideLayouts/slideLayout79.xml"/><Relationship Id="rId83" Type="http://schemas.openxmlformats.org/officeDocument/2006/relationships/slideLayout" Target="../slideLayouts/slideLayout87.xml"/><Relationship Id="rId88" Type="http://schemas.openxmlformats.org/officeDocument/2006/relationships/slideLayout" Target="../slideLayouts/slideLayout92.xml"/><Relationship Id="rId91" Type="http://schemas.openxmlformats.org/officeDocument/2006/relationships/slideLayout" Target="../slideLayouts/slideLayout95.xml"/><Relationship Id="rId96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32.xml"/><Relationship Id="rId36" Type="http://schemas.openxmlformats.org/officeDocument/2006/relationships/slideLayout" Target="../slideLayouts/slideLayout40.xml"/><Relationship Id="rId49" Type="http://schemas.openxmlformats.org/officeDocument/2006/relationships/slideLayout" Target="../slideLayouts/slideLayout53.xml"/><Relationship Id="rId57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4.xml"/><Relationship Id="rId31" Type="http://schemas.openxmlformats.org/officeDocument/2006/relationships/slideLayout" Target="../slideLayouts/slideLayout35.xml"/><Relationship Id="rId44" Type="http://schemas.openxmlformats.org/officeDocument/2006/relationships/slideLayout" Target="../slideLayouts/slideLayout48.xml"/><Relationship Id="rId52" Type="http://schemas.openxmlformats.org/officeDocument/2006/relationships/slideLayout" Target="../slideLayouts/slideLayout56.xml"/><Relationship Id="rId60" Type="http://schemas.openxmlformats.org/officeDocument/2006/relationships/slideLayout" Target="../slideLayouts/slideLayout64.xml"/><Relationship Id="rId65" Type="http://schemas.openxmlformats.org/officeDocument/2006/relationships/slideLayout" Target="../slideLayouts/slideLayout69.xml"/><Relationship Id="rId73" Type="http://schemas.openxmlformats.org/officeDocument/2006/relationships/slideLayout" Target="../slideLayouts/slideLayout77.xml"/><Relationship Id="rId78" Type="http://schemas.openxmlformats.org/officeDocument/2006/relationships/slideLayout" Target="../slideLayouts/slideLayout82.xml"/><Relationship Id="rId81" Type="http://schemas.openxmlformats.org/officeDocument/2006/relationships/slideLayout" Target="../slideLayouts/slideLayout85.xml"/><Relationship Id="rId86" Type="http://schemas.openxmlformats.org/officeDocument/2006/relationships/slideLayout" Target="../slideLayouts/slideLayout90.xml"/><Relationship Id="rId94" Type="http://schemas.openxmlformats.org/officeDocument/2006/relationships/slideLayout" Target="../slideLayouts/slideLayout98.xml"/><Relationship Id="rId99" Type="http://schemas.openxmlformats.org/officeDocument/2006/relationships/slideLayout" Target="../slideLayouts/slideLayout103.xml"/><Relationship Id="rId101" Type="http://schemas.openxmlformats.org/officeDocument/2006/relationships/tags" Target="../tags/tag2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39" Type="http://schemas.openxmlformats.org/officeDocument/2006/relationships/slideLayout" Target="../slideLayouts/slideLayout43.xml"/><Relationship Id="rId34" Type="http://schemas.openxmlformats.org/officeDocument/2006/relationships/slideLayout" Target="../slideLayouts/slideLayout38.xml"/><Relationship Id="rId50" Type="http://schemas.openxmlformats.org/officeDocument/2006/relationships/slideLayout" Target="../slideLayouts/slideLayout54.xml"/><Relationship Id="rId55" Type="http://schemas.openxmlformats.org/officeDocument/2006/relationships/slideLayout" Target="../slideLayouts/slideLayout59.xml"/><Relationship Id="rId76" Type="http://schemas.openxmlformats.org/officeDocument/2006/relationships/slideLayout" Target="../slideLayouts/slideLayout80.xml"/><Relationship Id="rId97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1.xml"/><Relationship Id="rId71" Type="http://schemas.openxmlformats.org/officeDocument/2006/relationships/slideLayout" Target="../slideLayouts/slideLayout75.xml"/><Relationship Id="rId92" Type="http://schemas.openxmlformats.org/officeDocument/2006/relationships/slideLayout" Target="../slideLayouts/slideLayout96.xml"/><Relationship Id="rId2" Type="http://schemas.openxmlformats.org/officeDocument/2006/relationships/slideLayout" Target="../slideLayouts/slideLayout6.xml"/><Relationship Id="rId29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28.xml"/><Relationship Id="rId40" Type="http://schemas.openxmlformats.org/officeDocument/2006/relationships/slideLayout" Target="../slideLayouts/slideLayout44.xml"/><Relationship Id="rId45" Type="http://schemas.openxmlformats.org/officeDocument/2006/relationships/slideLayout" Target="../slideLayouts/slideLayout49.xml"/><Relationship Id="rId66" Type="http://schemas.openxmlformats.org/officeDocument/2006/relationships/slideLayout" Target="../slideLayouts/slideLayout70.xml"/><Relationship Id="rId87" Type="http://schemas.openxmlformats.org/officeDocument/2006/relationships/slideLayout" Target="../slideLayouts/slideLayout91.xml"/><Relationship Id="rId61" Type="http://schemas.openxmlformats.org/officeDocument/2006/relationships/slideLayout" Target="../slideLayouts/slideLayout65.xml"/><Relationship Id="rId82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18.xml"/><Relationship Id="rId30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9.xml"/><Relationship Id="rId56" Type="http://schemas.openxmlformats.org/officeDocument/2006/relationships/slideLayout" Target="../slideLayouts/slideLayout60.xml"/><Relationship Id="rId77" Type="http://schemas.openxmlformats.org/officeDocument/2006/relationships/slideLayout" Target="../slideLayouts/slideLayout81.xml"/><Relationship Id="rId100" Type="http://schemas.openxmlformats.org/officeDocument/2006/relationships/theme" Target="../theme/theme2.xml"/><Relationship Id="rId8" Type="http://schemas.openxmlformats.org/officeDocument/2006/relationships/slideLayout" Target="../slideLayouts/slideLayout12.xml"/><Relationship Id="rId51" Type="http://schemas.openxmlformats.org/officeDocument/2006/relationships/slideLayout" Target="../slideLayouts/slideLayout55.xml"/><Relationship Id="rId72" Type="http://schemas.openxmlformats.org/officeDocument/2006/relationships/slideLayout" Target="../slideLayouts/slideLayout76.xml"/><Relationship Id="rId93" Type="http://schemas.openxmlformats.org/officeDocument/2006/relationships/slideLayout" Target="../slideLayouts/slideLayout97.xml"/><Relationship Id="rId98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5254F6-D89A-4932-9B9F-927EEE0E1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21893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8" imgH="408" progId="TCLayout.ActiveDocument.1">
                  <p:embed/>
                </p:oleObj>
              </mc:Choice>
              <mc:Fallback>
                <p:oleObj name="think-cell Slide" r:id="rId7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5254F6-D89A-4932-9B9F-927EEE0E1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994F223C-6ED7-4EF1-B9E2-360DC483996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63962B6-595A-4E12-A0A9-6972DDBE6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744" y="388845"/>
            <a:ext cx="10378800" cy="990000"/>
          </a:xfrm>
          <a:prstGeom prst="rect">
            <a:avLst/>
          </a:prstGeom>
        </p:spPr>
        <p:txBody>
          <a:bodyPr vert="horz" lIns="0" tIns="45720" rIns="91440" bIns="4572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0D9982-80C7-473C-BFA8-5C4A1E64BD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42913" y="6436977"/>
            <a:ext cx="185468" cy="190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lang="en-GB" sz="800" b="1" smtClean="0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fld id="{F614F82A-B1F0-497E-B440-1AC0EA5CDB0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E508CFE-DEE7-4125-8FA9-F7936A7382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0744" y="1825625"/>
            <a:ext cx="10378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269875" lvl="2" indent="-2698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■"/>
            </a:pPr>
            <a:r>
              <a:rPr lang="en-US"/>
              <a:t>Third level</a:t>
            </a:r>
          </a:p>
          <a:p>
            <a:pPr marL="503238" lvl="3" indent="-2333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</a:pPr>
            <a:r>
              <a:rPr lang="en-US"/>
              <a:t>Fourth level</a:t>
            </a:r>
          </a:p>
          <a:p>
            <a:pPr marL="717550" lvl="4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7819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6" r:id="rId4"/>
  </p:sldLayoutIdLst>
  <p:hf sldNum="0" hdr="0" ftr="0" dt="0"/>
  <p:txStyles>
    <p:title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SzPct val="100000"/>
        <a:buFont typeface="Arial" panose="020B0604020202020204" pitchFamily="34" charset="0"/>
        <a:buNone/>
        <a:defRPr lang="en-GB" sz="2800" b="0" kern="1200" dirty="0">
          <a:solidFill>
            <a:schemeClr val="tx2"/>
          </a:solidFill>
          <a:latin typeface="+mj-lt"/>
          <a:ea typeface="Cambria" panose="02040503050406030204" pitchFamily="18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None/>
        <a:defRPr lang="en-US" sz="1600" b="1" kern="1200" dirty="0" smtClean="0">
          <a:solidFill>
            <a:schemeClr val="accent1"/>
          </a:solidFill>
          <a:latin typeface="+mj-lt"/>
          <a:ea typeface="Cambria" panose="02040503050406030204" pitchFamily="18" charset="0"/>
          <a:cs typeface="Calibri" panose="020F0502020204030204" pitchFamily="34" charset="0"/>
        </a:defRPr>
      </a:lvl1pPr>
      <a:lvl2pPr marL="4381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►"/>
        <a:defRPr lang="en-US" sz="1600" b="0" kern="1200" dirty="0" smtClean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2pPr>
      <a:lvl3pPr marL="523875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lang="en-US" sz="1400" kern="1200" dirty="0" smtClean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3pPr>
      <a:lvl4pPr marL="555625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lang="en-US" sz="1200" kern="120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809625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GB" sz="105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9">
          <p15:clr>
            <a:srgbClr val="F26B43"/>
          </p15:clr>
        </p15:guide>
        <p15:guide id="3" pos="7401">
          <p15:clr>
            <a:srgbClr val="F26B43"/>
          </p15:clr>
        </p15:guide>
        <p15:guide id="4" orient="horz" pos="4042">
          <p15:clr>
            <a:srgbClr val="F26B43"/>
          </p15:clr>
        </p15:guide>
        <p15:guide id="6">
          <p15:clr>
            <a:srgbClr val="F26B43"/>
          </p15:clr>
        </p15:guide>
        <p15:guide id="8" pos="7680">
          <p15:clr>
            <a:srgbClr val="F26B43"/>
          </p15:clr>
        </p15:guide>
        <p15:guide id="9" orient="horz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1" orient="horz" pos="27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63962B6-595A-4E12-A0A9-6972DDBE6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01" y="388800"/>
            <a:ext cx="11303999" cy="9900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EB6CFD-A46F-4D8C-9DC4-9F9723DA0E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4713" y="6480000"/>
            <a:ext cx="239651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ea typeface="Cambria" panose="02040503050406030204" pitchFamily="18" charset="0"/>
                <a:cs typeface="Calibri" charset="0"/>
              </a:rPr>
              <a:t>© 2023 Copyright Genpact. All Rights Reserved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30104F-10D5-4E69-8AD4-DB626BE7DA18}"/>
              </a:ext>
            </a:extLst>
          </p:cNvPr>
          <p:cNvSpPr txBox="1"/>
          <p:nvPr userDrawn="1"/>
        </p:nvSpPr>
        <p:spPr>
          <a:xfrm>
            <a:off x="442800" y="6480000"/>
            <a:ext cx="125034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800" b="1">
                <a:solidFill>
                  <a:schemeClr val="bg2"/>
                </a:solidFill>
                <a:ea typeface="Cambria" panose="02040503050406030204" pitchFamily="18" charset="0"/>
                <a:cs typeface="Georgia" charset="0"/>
              </a:defRPr>
            </a:lvl1pPr>
          </a:lstStyle>
          <a:p>
            <a:pPr lvl="0"/>
            <a:fld id="{F614F82A-B1F0-497E-B440-1AC0EA5CDB07}" type="slidenum">
              <a:rPr lang="en-US"/>
              <a:pPr lvl="0"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4D6728C-E3C6-4747-8236-8CE4E25255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4000" y="1799999"/>
            <a:ext cx="11303999" cy="432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empower - DO NOT DELETE!!!" hidden="1">
            <a:extLst>
              <a:ext uri="{FF2B5EF4-FFF2-40B4-BE49-F238E27FC236}">
                <a16:creationId xmlns:a16="http://schemas.microsoft.com/office/drawing/2014/main" id="{F8138B8F-DC43-4331-9714-179CEC0AB132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084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  <p:sldLayoutId id="2147483686" r:id="rId19"/>
    <p:sldLayoutId id="2147483687" r:id="rId20"/>
    <p:sldLayoutId id="2147483688" r:id="rId21"/>
    <p:sldLayoutId id="2147483689" r:id="rId22"/>
    <p:sldLayoutId id="2147483690" r:id="rId23"/>
    <p:sldLayoutId id="2147483691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1" r:id="rId34"/>
    <p:sldLayoutId id="2147483702" r:id="rId35"/>
    <p:sldLayoutId id="2147483703" r:id="rId36"/>
    <p:sldLayoutId id="2147483704" r:id="rId37"/>
    <p:sldLayoutId id="2147483706" r:id="rId38"/>
    <p:sldLayoutId id="2147483707" r:id="rId39"/>
    <p:sldLayoutId id="2147483708" r:id="rId40"/>
    <p:sldLayoutId id="2147483709" r:id="rId41"/>
    <p:sldLayoutId id="2147483710" r:id="rId42"/>
    <p:sldLayoutId id="2147483711" r:id="rId43"/>
    <p:sldLayoutId id="2147483712" r:id="rId44"/>
    <p:sldLayoutId id="2147483713" r:id="rId45"/>
    <p:sldLayoutId id="2147483714" r:id="rId46"/>
    <p:sldLayoutId id="2147483715" r:id="rId47"/>
    <p:sldLayoutId id="2147483716" r:id="rId48"/>
    <p:sldLayoutId id="2147483717" r:id="rId49"/>
    <p:sldLayoutId id="2147483718" r:id="rId50"/>
    <p:sldLayoutId id="2147483719" r:id="rId51"/>
    <p:sldLayoutId id="2147483720" r:id="rId52"/>
    <p:sldLayoutId id="2147483721" r:id="rId53"/>
    <p:sldLayoutId id="2147483722" r:id="rId54"/>
    <p:sldLayoutId id="2147483723" r:id="rId55"/>
    <p:sldLayoutId id="2147483724" r:id="rId56"/>
    <p:sldLayoutId id="2147483725" r:id="rId57"/>
    <p:sldLayoutId id="2147483726" r:id="rId58"/>
    <p:sldLayoutId id="2147483727" r:id="rId59"/>
    <p:sldLayoutId id="2147483728" r:id="rId60"/>
    <p:sldLayoutId id="2147483729" r:id="rId61"/>
    <p:sldLayoutId id="2147483730" r:id="rId62"/>
    <p:sldLayoutId id="2147483731" r:id="rId63"/>
    <p:sldLayoutId id="2147483732" r:id="rId64"/>
    <p:sldLayoutId id="2147483733" r:id="rId65"/>
    <p:sldLayoutId id="2147483734" r:id="rId66"/>
    <p:sldLayoutId id="2147483735" r:id="rId67"/>
    <p:sldLayoutId id="2147483736" r:id="rId68"/>
    <p:sldLayoutId id="2147483737" r:id="rId69"/>
    <p:sldLayoutId id="2147483738" r:id="rId70"/>
    <p:sldLayoutId id="2147483739" r:id="rId71"/>
    <p:sldLayoutId id="2147483740" r:id="rId72"/>
    <p:sldLayoutId id="2147483741" r:id="rId73"/>
    <p:sldLayoutId id="2147483742" r:id="rId74"/>
    <p:sldLayoutId id="2147483743" r:id="rId75"/>
    <p:sldLayoutId id="2147483744" r:id="rId76"/>
    <p:sldLayoutId id="2147483745" r:id="rId77"/>
    <p:sldLayoutId id="2147483746" r:id="rId78"/>
    <p:sldLayoutId id="2147483747" r:id="rId79"/>
    <p:sldLayoutId id="2147483748" r:id="rId80"/>
    <p:sldLayoutId id="2147483749" r:id="rId81"/>
    <p:sldLayoutId id="2147483750" r:id="rId82"/>
    <p:sldLayoutId id="2147483751" r:id="rId83"/>
    <p:sldLayoutId id="2147483752" r:id="rId84"/>
    <p:sldLayoutId id="2147483753" r:id="rId85"/>
    <p:sldLayoutId id="2147483754" r:id="rId86"/>
    <p:sldLayoutId id="2147483755" r:id="rId87"/>
    <p:sldLayoutId id="2147483756" r:id="rId88"/>
    <p:sldLayoutId id="2147483757" r:id="rId89"/>
    <p:sldLayoutId id="2147483758" r:id="rId90"/>
    <p:sldLayoutId id="2147483759" r:id="rId91"/>
    <p:sldLayoutId id="2147483760" r:id="rId92"/>
    <p:sldLayoutId id="2147483761" r:id="rId93"/>
    <p:sldLayoutId id="2147483762" r:id="rId94"/>
    <p:sldLayoutId id="2147483763" r:id="rId95"/>
    <p:sldLayoutId id="2147483764" r:id="rId96"/>
    <p:sldLayoutId id="2147483866" r:id="rId97"/>
    <p:sldLayoutId id="2147483867" r:id="rId98"/>
    <p:sldLayoutId id="2147483868" r:id="rId99"/>
  </p:sldLayoutIdLst>
  <p:hf sldNum="0" hdr="0" dt="0"/>
  <p:txStyles>
    <p:title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SzPct val="100000"/>
        <a:buFont typeface="Arial" panose="020B0604020202020204" pitchFamily="34" charset="0"/>
        <a:buNone/>
        <a:defRPr lang="en-GB" sz="3200" b="0" kern="1200" dirty="0">
          <a:solidFill>
            <a:schemeClr val="tx2"/>
          </a:solidFill>
          <a:latin typeface="+mj-lt"/>
          <a:ea typeface="Cambria" panose="02040503050406030204" pitchFamily="18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None/>
        <a:defRPr lang="en-US" sz="1400" b="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1pPr>
      <a:lvl2pPr marL="252000" indent="-252000" algn="l" defTabSz="9144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■"/>
        <a:defRPr lang="en-US" sz="1400" b="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2pPr>
      <a:lvl3pPr marL="504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0"/>
        </a:spcAft>
        <a:buClr>
          <a:schemeClr val="accent1"/>
        </a:buClr>
        <a:buSzPct val="80000"/>
        <a:buFont typeface="Arial" panose="020B0604020202020204" pitchFamily="34" charset="0"/>
        <a:buChar char="►"/>
        <a:defRPr lang="en-US" sz="1200" kern="1200" dirty="0">
          <a:solidFill>
            <a:schemeClr val="tx2"/>
          </a:solidFill>
          <a:latin typeface="+mn-lt"/>
          <a:ea typeface="Cambria" panose="02040503050406030204" pitchFamily="18" charset="0"/>
          <a:cs typeface="Calibri" panose="020F0502020204030204" pitchFamily="34" charset="0"/>
        </a:defRPr>
      </a:lvl3pPr>
      <a:lvl4pPr marL="756000" indent="-252000" algn="l" defTabSz="914400" rtl="0" eaLnBrk="1" latinLnBrk="0" hangingPunct="1">
        <a:lnSpc>
          <a:spcPct val="105000"/>
        </a:lnSpc>
        <a:spcBef>
          <a:spcPts val="30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1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5000"/>
        </a:lnSpc>
        <a:spcBef>
          <a:spcPts val="1800"/>
        </a:spcBef>
        <a:spcAft>
          <a:spcPts val="0"/>
        </a:spcAft>
        <a:buFontTx/>
        <a:buNone/>
        <a:defRPr lang="en-GB" sz="1600" b="1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9">
          <p15:clr>
            <a:srgbClr val="F26B43"/>
          </p15:clr>
        </p15:guide>
        <p15:guide id="3" pos="7401">
          <p15:clr>
            <a:srgbClr val="F26B43"/>
          </p15:clr>
        </p15:guide>
        <p15:guide id="4" orient="horz" pos="4088">
          <p15:clr>
            <a:srgbClr val="F26B43"/>
          </p15:clr>
        </p15:guide>
        <p15:guide id="11" orient="horz" pos="232">
          <p15:clr>
            <a:srgbClr val="F26B43"/>
          </p15:clr>
        </p15:guide>
        <p15:guide id="12" orient="horz" pos="777">
          <p15:clr>
            <a:srgbClr val="F26B43"/>
          </p15:clr>
        </p15:guide>
        <p15:guide id="13" orient="horz" pos="913">
          <p15:clr>
            <a:srgbClr val="F26B43"/>
          </p15:clr>
        </p15:guide>
        <p15:guide id="14" orient="horz" pos="1117">
          <p15:clr>
            <a:srgbClr val="F26B43"/>
          </p15:clr>
        </p15:guide>
        <p15:guide id="15" orient="horz" pos="3861">
          <p15:clr>
            <a:srgbClr val="F26B43"/>
          </p15:clr>
        </p15:guide>
        <p15:guide id="16" orient="horz" pos="1412">
          <p15:clr>
            <a:srgbClr val="F26B43"/>
          </p15:clr>
        </p15:guide>
        <p15:guide id="17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509409-9EFF-729B-BF4F-68F52FB467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7F761480-A9DF-A85D-8E16-0494F5FF97F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35" b="7635"/>
          <a:stretch/>
        </p:blipFill>
        <p:spPr>
          <a:xfrm>
            <a:off x="0" y="0"/>
            <a:ext cx="12217165" cy="6891750"/>
          </a:xfrm>
        </p:spPr>
      </p:pic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249E2FCD-DDB6-4CEC-757D-293EFD7101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6318" y="4682445"/>
            <a:ext cx="6397626" cy="860198"/>
          </a:xfrm>
        </p:spPr>
        <p:txBody>
          <a:bodyPr/>
          <a:lstStyle/>
          <a:p>
            <a:r>
              <a:rPr lang="en-GB" b="1" dirty="0">
                <a:ea typeface="Cambria"/>
                <a:cs typeface="Calibri"/>
              </a:rPr>
              <a:t>Apr’24</a:t>
            </a:r>
            <a:endParaRPr lang="en-GB" b="1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864C4E2-C0E2-84BC-DFCB-738CF78CF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08" y="2001769"/>
            <a:ext cx="9570561" cy="990000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  <a:ea typeface="Cambria"/>
                <a:cs typeface="Calibri"/>
              </a:rPr>
              <a:t>CORA Code GenY – Tech Services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C264470-7687-C6AF-2F09-693DEEAAC4AB}"/>
              </a:ext>
            </a:extLst>
          </p:cNvPr>
          <p:cNvSpPr/>
          <p:nvPr/>
        </p:nvSpPr>
        <p:spPr>
          <a:xfrm>
            <a:off x="10146925" y="2840691"/>
            <a:ext cx="2070240" cy="2020997"/>
          </a:xfrm>
          <a:custGeom>
            <a:avLst/>
            <a:gdLst>
              <a:gd name="connsiteX0" fmla="*/ 803684 w 2070240"/>
              <a:gd name="connsiteY0" fmla="*/ 0 h 2020997"/>
              <a:gd name="connsiteX1" fmla="*/ 2069497 w 2070240"/>
              <a:gd name="connsiteY1" fmla="*/ 889314 h 2020997"/>
              <a:gd name="connsiteX2" fmla="*/ 2069597 w 2070240"/>
              <a:gd name="connsiteY2" fmla="*/ 713297 h 2020997"/>
              <a:gd name="connsiteX3" fmla="*/ 2070240 w 2070240"/>
              <a:gd name="connsiteY3" fmla="*/ 713739 h 2020997"/>
              <a:gd name="connsiteX4" fmla="*/ 2069497 w 2070240"/>
              <a:gd name="connsiteY4" fmla="*/ 2020997 h 2020997"/>
              <a:gd name="connsiteX5" fmla="*/ 0 w 2070240"/>
              <a:gd name="connsiteY5" fmla="*/ 567044 h 2020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70240" h="2020997">
                <a:moveTo>
                  <a:pt x="803684" y="0"/>
                </a:moveTo>
                <a:lnTo>
                  <a:pt x="2069497" y="889314"/>
                </a:lnTo>
                <a:lnTo>
                  <a:pt x="2069597" y="713297"/>
                </a:lnTo>
                <a:lnTo>
                  <a:pt x="2070240" y="713739"/>
                </a:lnTo>
                <a:lnTo>
                  <a:pt x="2069497" y="2020997"/>
                </a:lnTo>
                <a:lnTo>
                  <a:pt x="0" y="567044"/>
                </a:lnTo>
                <a:close/>
              </a:path>
            </a:pathLst>
          </a:custGeom>
          <a:gradFill>
            <a:gsLst>
              <a:gs pos="21000">
                <a:schemeClr val="accent2"/>
              </a:gs>
              <a:gs pos="68000">
                <a:schemeClr val="accent2">
                  <a:alpha val="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CFA12EA-F4F5-C56F-0AA0-4147780779A5}"/>
              </a:ext>
            </a:extLst>
          </p:cNvPr>
          <p:cNvCxnSpPr>
            <a:cxnSpLocks/>
          </p:cNvCxnSpPr>
          <p:nvPr/>
        </p:nvCxnSpPr>
        <p:spPr>
          <a:xfrm>
            <a:off x="401383" y="2776089"/>
            <a:ext cx="8071370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  <a:gs pos="88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1F638C0D-5BD0-0FDD-F6C6-3EE1DE9A2B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888" y="6426211"/>
            <a:ext cx="2396518" cy="222250"/>
          </a:xfrm>
        </p:spPr>
        <p:txBody>
          <a:bodyPr/>
          <a:lstStyle/>
          <a:p>
            <a:r>
              <a:rPr lang="en-US"/>
              <a:t>© 2023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951003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FFA487-AF0D-4DC3-69B8-7936500A0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308" y="388845"/>
            <a:ext cx="11303999" cy="558681"/>
          </a:xfrm>
        </p:spPr>
        <p:txBody>
          <a:bodyPr anchor="t"/>
          <a:lstStyle/>
          <a:p>
            <a:pPr algn="ctr"/>
            <a:r>
              <a:rPr lang="en-US">
                <a:ea typeface="Cambria"/>
                <a:cs typeface="Calibri"/>
              </a:rPr>
              <a:t>SDLC Life Cycle – Different Phas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E403B8A-20B5-1E68-9494-696C8D28D940}"/>
              </a:ext>
            </a:extLst>
          </p:cNvPr>
          <p:cNvGrpSpPr/>
          <p:nvPr/>
        </p:nvGrpSpPr>
        <p:grpSpPr>
          <a:xfrm>
            <a:off x="2641366" y="1936525"/>
            <a:ext cx="7121471" cy="2984950"/>
            <a:chOff x="1825605" y="1897253"/>
            <a:chExt cx="8364215" cy="3505844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65C4F07A-4F33-CB94-EADB-C9D76534CD12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5921867" y="4705142"/>
              <a:ext cx="822960" cy="0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54F1C433-1383-6BDB-F139-C3674737C411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357193" y="4910517"/>
              <a:ext cx="822960" cy="0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6614F2F-9415-2464-AAD7-3A8021BC876C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5900784" y="2703360"/>
              <a:ext cx="822960" cy="0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76EDB94D-D1ED-EB08-CC9A-1EF85477D6BB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4014746" y="2308733"/>
              <a:ext cx="822960" cy="0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CC92D232-A910-0188-6DE6-8C3702FE955F}"/>
                </a:ext>
              </a:extLst>
            </p:cNvPr>
            <p:cNvGrpSpPr/>
            <p:nvPr/>
          </p:nvGrpSpPr>
          <p:grpSpPr>
            <a:xfrm>
              <a:off x="2824455" y="2128936"/>
              <a:ext cx="5931085" cy="3274161"/>
              <a:chOff x="2182521" y="1971693"/>
              <a:chExt cx="7793635" cy="4302352"/>
            </a:xfrm>
          </p:grpSpPr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39B01974-E859-62A9-2D76-37DC29C8E065}"/>
                  </a:ext>
                </a:extLst>
              </p:cNvPr>
              <p:cNvSpPr/>
              <p:nvPr/>
            </p:nvSpPr>
            <p:spPr>
              <a:xfrm rot="2704479">
                <a:off x="3307596" y="2591857"/>
                <a:ext cx="2620502" cy="1392683"/>
              </a:xfrm>
              <a:custGeom>
                <a:avLst/>
                <a:gdLst>
                  <a:gd name="connsiteX0" fmla="*/ 382856 w 2620502"/>
                  <a:gd name="connsiteY0" fmla="*/ 479068 h 1392683"/>
                  <a:gd name="connsiteX1" fmla="*/ 1539426 w 2620502"/>
                  <a:gd name="connsiteY1" fmla="*/ 0 h 1392683"/>
                  <a:gd name="connsiteX2" fmla="*/ 2614329 w 2620502"/>
                  <a:gd name="connsiteY2" fmla="*/ 2 h 1392683"/>
                  <a:gd name="connsiteX3" fmla="*/ 2620502 w 2620502"/>
                  <a:gd name="connsiteY3" fmla="*/ 489068 h 1392683"/>
                  <a:gd name="connsiteX4" fmla="*/ 1580101 w 2620502"/>
                  <a:gd name="connsiteY4" fmla="*/ 489068 h 1392683"/>
                  <a:gd name="connsiteX5" fmla="*/ 788072 w 2620502"/>
                  <a:gd name="connsiteY5" fmla="*/ 816419 h 1392683"/>
                  <a:gd name="connsiteX6" fmla="*/ 482759 w 2620502"/>
                  <a:gd name="connsiteY6" fmla="*/ 1381470 h 1392683"/>
                  <a:gd name="connsiteX7" fmla="*/ 481046 w 2620502"/>
                  <a:gd name="connsiteY7" fmla="*/ 1392683 h 1392683"/>
                  <a:gd name="connsiteX8" fmla="*/ 250969 w 2620502"/>
                  <a:gd name="connsiteY8" fmla="*/ 1289725 h 1392683"/>
                  <a:gd name="connsiteX9" fmla="*/ 0 w 2620502"/>
                  <a:gd name="connsiteY9" fmla="*/ 1087296 h 1392683"/>
                  <a:gd name="connsiteX10" fmla="*/ 32326 w 2620502"/>
                  <a:gd name="connsiteY10" fmla="*/ 998975 h 1392683"/>
                  <a:gd name="connsiteX11" fmla="*/ 382856 w 2620502"/>
                  <a:gd name="connsiteY11" fmla="*/ 479068 h 1392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20502" h="1392683">
                    <a:moveTo>
                      <a:pt x="382856" y="479068"/>
                    </a:moveTo>
                    <a:cubicBezTo>
                      <a:pt x="678848" y="183076"/>
                      <a:pt x="1087757" y="2"/>
                      <a:pt x="1539426" y="0"/>
                    </a:cubicBezTo>
                    <a:lnTo>
                      <a:pt x="2614329" y="2"/>
                    </a:lnTo>
                    <a:lnTo>
                      <a:pt x="2620502" y="489068"/>
                    </a:lnTo>
                    <a:lnTo>
                      <a:pt x="1580101" y="489068"/>
                    </a:lnTo>
                    <a:cubicBezTo>
                      <a:pt x="1270794" y="489068"/>
                      <a:pt x="990770" y="614165"/>
                      <a:pt x="788072" y="816419"/>
                    </a:cubicBezTo>
                    <a:cubicBezTo>
                      <a:pt x="636050" y="968110"/>
                      <a:pt x="527521" y="1163202"/>
                      <a:pt x="482759" y="1381470"/>
                    </a:cubicBezTo>
                    <a:lnTo>
                      <a:pt x="481046" y="1392683"/>
                    </a:lnTo>
                    <a:lnTo>
                      <a:pt x="250969" y="1289725"/>
                    </a:lnTo>
                    <a:lnTo>
                      <a:pt x="0" y="1087296"/>
                    </a:lnTo>
                    <a:lnTo>
                      <a:pt x="32326" y="998975"/>
                    </a:lnTo>
                    <a:cubicBezTo>
                      <a:pt x="115094" y="803290"/>
                      <a:pt x="234860" y="627065"/>
                      <a:pt x="382856" y="479068"/>
                    </a:cubicBezTo>
                    <a:close/>
                  </a:path>
                </a:pathLst>
              </a:custGeom>
              <a:solidFill>
                <a:srgbClr val="00206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err="1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86A084EE-387A-447C-38A5-0B91EA2DFC10}"/>
                  </a:ext>
                </a:extLst>
              </p:cNvPr>
              <p:cNvSpPr/>
              <p:nvPr/>
            </p:nvSpPr>
            <p:spPr>
              <a:xfrm rot="2704479">
                <a:off x="7531194" y="2730989"/>
                <a:ext cx="2502665" cy="984073"/>
              </a:xfrm>
              <a:custGeom>
                <a:avLst/>
                <a:gdLst>
                  <a:gd name="connsiteX0" fmla="*/ 214209 w 2502665"/>
                  <a:gd name="connsiteY0" fmla="*/ 482085 h 984073"/>
                  <a:gd name="connsiteX1" fmla="*/ 1369528 w 2502665"/>
                  <a:gd name="connsiteY1" fmla="*/ 5 h 984073"/>
                  <a:gd name="connsiteX2" fmla="*/ 2284752 w 2502665"/>
                  <a:gd name="connsiteY2" fmla="*/ 276963 h 984073"/>
                  <a:gd name="connsiteX3" fmla="*/ 2502665 w 2502665"/>
                  <a:gd name="connsiteY3" fmla="*/ 455805 h 984073"/>
                  <a:gd name="connsiteX4" fmla="*/ 2376494 w 2502665"/>
                  <a:gd name="connsiteY4" fmla="*/ 625897 h 984073"/>
                  <a:gd name="connsiteX5" fmla="*/ 2125842 w 2502665"/>
                  <a:gd name="connsiteY5" fmla="*/ 812839 h 984073"/>
                  <a:gd name="connsiteX6" fmla="*/ 2001049 w 2502665"/>
                  <a:gd name="connsiteY6" fmla="*/ 710646 h 984073"/>
                  <a:gd name="connsiteX7" fmla="*/ 1374297 w 2502665"/>
                  <a:gd name="connsiteY7" fmla="*/ 521402 h 984073"/>
                  <a:gd name="connsiteX8" fmla="*/ 583124 w 2502665"/>
                  <a:gd name="connsiteY8" fmla="*/ 850816 h 984073"/>
                  <a:gd name="connsiteX9" fmla="*/ 511036 w 2502665"/>
                  <a:gd name="connsiteY9" fmla="*/ 930373 h 984073"/>
                  <a:gd name="connsiteX10" fmla="*/ 471010 w 2502665"/>
                  <a:gd name="connsiteY10" fmla="*/ 984073 h 984073"/>
                  <a:gd name="connsiteX11" fmla="*/ 278043 w 2502665"/>
                  <a:gd name="connsiteY11" fmla="*/ 845383 h 984073"/>
                  <a:gd name="connsiteX12" fmla="*/ 0 w 2502665"/>
                  <a:gd name="connsiteY12" fmla="*/ 749700 h 984073"/>
                  <a:gd name="connsiteX13" fmla="*/ 15115 w 2502665"/>
                  <a:gd name="connsiteY13" fmla="*/ 724674 h 984073"/>
                  <a:gd name="connsiteX14" fmla="*/ 214209 w 2502665"/>
                  <a:gd name="connsiteY14" fmla="*/ 482085 h 984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502665" h="984073">
                    <a:moveTo>
                      <a:pt x="214209" y="482085"/>
                    </a:moveTo>
                    <a:cubicBezTo>
                      <a:pt x="509430" y="185322"/>
                      <a:pt x="917860" y="1183"/>
                      <a:pt x="1369528" y="5"/>
                    </a:cubicBezTo>
                    <a:cubicBezTo>
                      <a:pt x="1708278" y="-877"/>
                      <a:pt x="2023244" y="101282"/>
                      <a:pt x="2284752" y="276963"/>
                    </a:cubicBezTo>
                    <a:lnTo>
                      <a:pt x="2502665" y="455805"/>
                    </a:lnTo>
                    <a:lnTo>
                      <a:pt x="2376494" y="625897"/>
                    </a:lnTo>
                    <a:lnTo>
                      <a:pt x="2125842" y="812839"/>
                    </a:lnTo>
                    <a:lnTo>
                      <a:pt x="2001049" y="710646"/>
                    </a:lnTo>
                    <a:cubicBezTo>
                      <a:pt x="1821967" y="590602"/>
                      <a:pt x="1606276" y="520797"/>
                      <a:pt x="1374297" y="521402"/>
                    </a:cubicBezTo>
                    <a:cubicBezTo>
                      <a:pt x="1064990" y="522208"/>
                      <a:pt x="785292" y="648035"/>
                      <a:pt x="583124" y="850816"/>
                    </a:cubicBezTo>
                    <a:cubicBezTo>
                      <a:pt x="557852" y="876164"/>
                      <a:pt x="533793" y="902714"/>
                      <a:pt x="511036" y="930373"/>
                    </a:cubicBezTo>
                    <a:lnTo>
                      <a:pt x="471010" y="984073"/>
                    </a:lnTo>
                    <a:lnTo>
                      <a:pt x="278043" y="845383"/>
                    </a:lnTo>
                    <a:lnTo>
                      <a:pt x="0" y="749700"/>
                    </a:lnTo>
                    <a:lnTo>
                      <a:pt x="15115" y="724674"/>
                    </a:lnTo>
                    <a:cubicBezTo>
                      <a:pt x="73675" y="637505"/>
                      <a:pt x="140404" y="556275"/>
                      <a:pt x="214209" y="482085"/>
                    </a:cubicBezTo>
                    <a:close/>
                  </a:path>
                </a:pathLst>
              </a:custGeom>
              <a:solidFill>
                <a:srgbClr val="00206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err="1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EB564C44-5842-6C45-8D54-E3952BA63F3D}"/>
                  </a:ext>
                </a:extLst>
              </p:cNvPr>
              <p:cNvSpPr/>
              <p:nvPr/>
            </p:nvSpPr>
            <p:spPr>
              <a:xfrm rot="2704479">
                <a:off x="5535286" y="1851889"/>
                <a:ext cx="960034" cy="4595692"/>
              </a:xfrm>
              <a:custGeom>
                <a:avLst/>
                <a:gdLst>
                  <a:gd name="connsiteX0" fmla="*/ 491575 w 960034"/>
                  <a:gd name="connsiteY0" fmla="*/ 0 h 4595692"/>
                  <a:gd name="connsiteX1" fmla="*/ 773903 w 960034"/>
                  <a:gd name="connsiteY1" fmla="*/ 97157 h 4595692"/>
                  <a:gd name="connsiteX2" fmla="*/ 960034 w 960034"/>
                  <a:gd name="connsiteY2" fmla="*/ 230935 h 4595692"/>
                  <a:gd name="connsiteX3" fmla="*/ 917633 w 960034"/>
                  <a:gd name="connsiteY3" fmla="*/ 300988 h 4595692"/>
                  <a:gd name="connsiteX4" fmla="*/ 783833 w 960034"/>
                  <a:gd name="connsiteY4" fmla="*/ 834076 h 4595692"/>
                  <a:gd name="connsiteX5" fmla="*/ 786361 w 960034"/>
                  <a:gd name="connsiteY5" fmla="*/ 1804527 h 4595692"/>
                  <a:gd name="connsiteX6" fmla="*/ 780366 w 960034"/>
                  <a:gd name="connsiteY6" fmla="*/ 1804280 h 4595692"/>
                  <a:gd name="connsiteX7" fmla="*/ 753100 w 960034"/>
                  <a:gd name="connsiteY7" fmla="*/ 2466380 h 4595692"/>
                  <a:gd name="connsiteX8" fmla="*/ 747977 w 960034"/>
                  <a:gd name="connsiteY8" fmla="*/ 2466393 h 4595692"/>
                  <a:gd name="connsiteX9" fmla="*/ 747976 w 960034"/>
                  <a:gd name="connsiteY9" fmla="*/ 2590812 h 4595692"/>
                  <a:gd name="connsiteX10" fmla="*/ 744861 w 960034"/>
                  <a:gd name="connsiteY10" fmla="*/ 2666479 h 4595692"/>
                  <a:gd name="connsiteX11" fmla="*/ 747977 w 960034"/>
                  <a:gd name="connsiteY11" fmla="*/ 2666607 h 4595692"/>
                  <a:gd name="connsiteX12" fmla="*/ 747976 w 960034"/>
                  <a:gd name="connsiteY12" fmla="*/ 3618177 h 4595692"/>
                  <a:gd name="connsiteX13" fmla="*/ 468635 w 960034"/>
                  <a:gd name="connsiteY13" fmla="*/ 4532677 h 4595692"/>
                  <a:gd name="connsiteX14" fmla="*/ 421514 w 960034"/>
                  <a:gd name="connsiteY14" fmla="*/ 4595692 h 4595692"/>
                  <a:gd name="connsiteX15" fmla="*/ 240954 w 960034"/>
                  <a:gd name="connsiteY15" fmla="*/ 4433068 h 4595692"/>
                  <a:gd name="connsiteX16" fmla="*/ 0 w 960034"/>
                  <a:gd name="connsiteY16" fmla="*/ 4319212 h 4595692"/>
                  <a:gd name="connsiteX17" fmla="*/ 17336 w 960034"/>
                  <a:gd name="connsiteY17" fmla="*/ 4300181 h 4595692"/>
                  <a:gd name="connsiteX18" fmla="*/ 273110 w 960034"/>
                  <a:gd name="connsiteY18" fmla="*/ 3589254 h 4595692"/>
                  <a:gd name="connsiteX19" fmla="*/ 273110 w 960034"/>
                  <a:gd name="connsiteY19" fmla="*/ 2471606 h 4595692"/>
                  <a:gd name="connsiteX20" fmla="*/ 266022 w 960034"/>
                  <a:gd name="connsiteY20" fmla="*/ 2471606 h 4595692"/>
                  <a:gd name="connsiteX21" fmla="*/ 259850 w 960034"/>
                  <a:gd name="connsiteY21" fmla="*/ 1982539 h 4595692"/>
                  <a:gd name="connsiteX22" fmla="*/ 267875 w 960034"/>
                  <a:gd name="connsiteY22" fmla="*/ 1982539 h 4595692"/>
                  <a:gd name="connsiteX23" fmla="*/ 264875 w 960034"/>
                  <a:gd name="connsiteY23" fmla="*/ 832010 h 4595692"/>
                  <a:gd name="connsiteX24" fmla="*/ 460256 w 960034"/>
                  <a:gd name="connsiteY24" fmla="*/ 51857 h 4595692"/>
                  <a:gd name="connsiteX25" fmla="*/ 491575 w 960034"/>
                  <a:gd name="connsiteY25" fmla="*/ 0 h 4595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960034" h="4595692">
                    <a:moveTo>
                      <a:pt x="491575" y="0"/>
                    </a:moveTo>
                    <a:lnTo>
                      <a:pt x="773903" y="97157"/>
                    </a:lnTo>
                    <a:lnTo>
                      <a:pt x="960034" y="230935"/>
                    </a:lnTo>
                    <a:lnTo>
                      <a:pt x="917633" y="300988"/>
                    </a:lnTo>
                    <a:cubicBezTo>
                      <a:pt x="831830" y="459575"/>
                      <a:pt x="783329" y="641183"/>
                      <a:pt x="783833" y="834076"/>
                    </a:cubicBezTo>
                    <a:lnTo>
                      <a:pt x="786361" y="1804527"/>
                    </a:lnTo>
                    <a:lnTo>
                      <a:pt x="780366" y="1804280"/>
                    </a:lnTo>
                    <a:lnTo>
                      <a:pt x="753100" y="2466380"/>
                    </a:lnTo>
                    <a:lnTo>
                      <a:pt x="747977" y="2466393"/>
                    </a:lnTo>
                    <a:lnTo>
                      <a:pt x="747976" y="2590812"/>
                    </a:lnTo>
                    <a:lnTo>
                      <a:pt x="744861" y="2666479"/>
                    </a:lnTo>
                    <a:lnTo>
                      <a:pt x="747977" y="2666607"/>
                    </a:lnTo>
                    <a:lnTo>
                      <a:pt x="747976" y="3618177"/>
                    </a:lnTo>
                    <a:cubicBezTo>
                      <a:pt x="747977" y="3956928"/>
                      <a:pt x="644997" y="4271628"/>
                      <a:pt x="468635" y="4532677"/>
                    </a:cubicBezTo>
                    <a:lnTo>
                      <a:pt x="421514" y="4595692"/>
                    </a:lnTo>
                    <a:lnTo>
                      <a:pt x="240954" y="4433068"/>
                    </a:lnTo>
                    <a:lnTo>
                      <a:pt x="0" y="4319212"/>
                    </a:lnTo>
                    <a:lnTo>
                      <a:pt x="17336" y="4300181"/>
                    </a:lnTo>
                    <a:cubicBezTo>
                      <a:pt x="177123" y="4106986"/>
                      <a:pt x="273110" y="3859305"/>
                      <a:pt x="273110" y="3589254"/>
                    </a:cubicBezTo>
                    <a:lnTo>
                      <a:pt x="273110" y="2471606"/>
                    </a:lnTo>
                    <a:lnTo>
                      <a:pt x="266022" y="2471606"/>
                    </a:lnTo>
                    <a:lnTo>
                      <a:pt x="259850" y="1982539"/>
                    </a:lnTo>
                    <a:lnTo>
                      <a:pt x="267875" y="1982539"/>
                    </a:lnTo>
                    <a:lnTo>
                      <a:pt x="264875" y="832010"/>
                    </a:lnTo>
                    <a:cubicBezTo>
                      <a:pt x="264140" y="549718"/>
                      <a:pt x="334961" y="283943"/>
                      <a:pt x="460256" y="51857"/>
                    </a:cubicBezTo>
                    <a:lnTo>
                      <a:pt x="491575" y="0"/>
                    </a:lnTo>
                    <a:close/>
                  </a:path>
                </a:pathLst>
              </a:custGeom>
              <a:solidFill>
                <a:srgbClr val="00206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err="1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48C4B5E6-CA9B-01E6-A078-9E8283FD5F9A}"/>
                  </a:ext>
                </a:extLst>
              </p:cNvPr>
              <p:cNvSpPr/>
              <p:nvPr/>
            </p:nvSpPr>
            <p:spPr>
              <a:xfrm rot="2704479">
                <a:off x="2560087" y="2698330"/>
                <a:ext cx="951274" cy="1706405"/>
              </a:xfrm>
              <a:custGeom>
                <a:avLst/>
                <a:gdLst>
                  <a:gd name="connsiteX0" fmla="*/ 73526 w 951274"/>
                  <a:gd name="connsiteY0" fmla="*/ 0 h 1706405"/>
                  <a:gd name="connsiteX1" fmla="*/ 314255 w 951274"/>
                  <a:gd name="connsiteY1" fmla="*/ 194169 h 1706405"/>
                  <a:gd name="connsiteX2" fmla="*/ 567454 w 951274"/>
                  <a:gd name="connsiteY2" fmla="*/ 307475 h 1706405"/>
                  <a:gd name="connsiteX3" fmla="*/ 561997 w 951274"/>
                  <a:gd name="connsiteY3" fmla="*/ 343156 h 1706405"/>
                  <a:gd name="connsiteX4" fmla="*/ 556214 w 951274"/>
                  <a:gd name="connsiteY4" fmla="*/ 457427 h 1706405"/>
                  <a:gd name="connsiteX5" fmla="*/ 556213 w 951274"/>
                  <a:gd name="connsiteY5" fmla="*/ 457428 h 1706405"/>
                  <a:gd name="connsiteX6" fmla="*/ 884282 w 951274"/>
                  <a:gd name="connsiteY6" fmla="*/ 1247725 h 1706405"/>
                  <a:gd name="connsiteX7" fmla="*/ 951274 w 951274"/>
                  <a:gd name="connsiteY7" fmla="*/ 1302877 h 1706405"/>
                  <a:gd name="connsiteX8" fmla="*/ 770749 w 951274"/>
                  <a:gd name="connsiteY8" fmla="*/ 1546246 h 1706405"/>
                  <a:gd name="connsiteX9" fmla="*/ 556009 w 951274"/>
                  <a:gd name="connsiteY9" fmla="*/ 1706405 h 1706405"/>
                  <a:gd name="connsiteX10" fmla="*/ 479067 w 951274"/>
                  <a:gd name="connsiteY10" fmla="*/ 1642922 h 1706405"/>
                  <a:gd name="connsiteX11" fmla="*/ 0 w 951274"/>
                  <a:gd name="connsiteY11" fmla="*/ 486352 h 1706405"/>
                  <a:gd name="connsiteX12" fmla="*/ 33231 w 951274"/>
                  <a:gd name="connsiteY12" fmla="*/ 156713 h 1706405"/>
                  <a:gd name="connsiteX13" fmla="*/ 73526 w 951274"/>
                  <a:gd name="connsiteY13" fmla="*/ 0 h 1706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51274" h="1706405">
                    <a:moveTo>
                      <a:pt x="73526" y="0"/>
                    </a:moveTo>
                    <a:lnTo>
                      <a:pt x="314255" y="194169"/>
                    </a:lnTo>
                    <a:lnTo>
                      <a:pt x="567454" y="307475"/>
                    </a:lnTo>
                    <a:lnTo>
                      <a:pt x="561997" y="343156"/>
                    </a:lnTo>
                    <a:cubicBezTo>
                      <a:pt x="558173" y="380728"/>
                      <a:pt x="556214" y="418850"/>
                      <a:pt x="556214" y="457427"/>
                    </a:cubicBezTo>
                    <a:lnTo>
                      <a:pt x="556213" y="457428"/>
                    </a:lnTo>
                    <a:cubicBezTo>
                      <a:pt x="556213" y="766059"/>
                      <a:pt x="681584" y="1045470"/>
                      <a:pt x="884282" y="1247725"/>
                    </a:cubicBezTo>
                    <a:lnTo>
                      <a:pt x="951274" y="1302877"/>
                    </a:lnTo>
                    <a:lnTo>
                      <a:pt x="770749" y="1546246"/>
                    </a:lnTo>
                    <a:lnTo>
                      <a:pt x="556009" y="1706405"/>
                    </a:lnTo>
                    <a:lnTo>
                      <a:pt x="479067" y="1642922"/>
                    </a:lnTo>
                    <a:cubicBezTo>
                      <a:pt x="183076" y="1346930"/>
                      <a:pt x="0" y="938021"/>
                      <a:pt x="0" y="486352"/>
                    </a:cubicBezTo>
                    <a:cubicBezTo>
                      <a:pt x="0" y="373435"/>
                      <a:pt x="11442" y="263190"/>
                      <a:pt x="33231" y="156713"/>
                    </a:cubicBezTo>
                    <a:lnTo>
                      <a:pt x="73526" y="0"/>
                    </a:lnTo>
                    <a:close/>
                  </a:path>
                </a:pathLst>
              </a:custGeom>
              <a:solidFill>
                <a:srgbClr val="00206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err="1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146A67C-2F01-6212-1E52-82DBAB7BBB3F}"/>
                  </a:ext>
                </a:extLst>
              </p:cNvPr>
              <p:cNvSpPr/>
              <p:nvPr/>
            </p:nvSpPr>
            <p:spPr>
              <a:xfrm rot="2704479">
                <a:off x="8688861" y="3925140"/>
                <a:ext cx="832894" cy="1741696"/>
              </a:xfrm>
              <a:custGeom>
                <a:avLst/>
                <a:gdLst>
                  <a:gd name="connsiteX0" fmla="*/ 0 w 832894"/>
                  <a:gd name="connsiteY0" fmla="*/ 354488 h 1741696"/>
                  <a:gd name="connsiteX1" fmla="*/ 247522 w 832894"/>
                  <a:gd name="connsiteY1" fmla="*/ 169879 h 1741696"/>
                  <a:gd name="connsiteX2" fmla="*/ 373535 w 832894"/>
                  <a:gd name="connsiteY2" fmla="*/ 0 h 1741696"/>
                  <a:gd name="connsiteX3" fmla="*/ 551167 w 832894"/>
                  <a:gd name="connsiteY3" fmla="*/ 214153 h 1741696"/>
                  <a:gd name="connsiteX4" fmla="*/ 832889 w 832894"/>
                  <a:gd name="connsiteY4" fmla="*/ 1127923 h 1741696"/>
                  <a:gd name="connsiteX5" fmla="*/ 760622 w 832894"/>
                  <a:gd name="connsiteY5" fmla="*/ 1614500 h 1741696"/>
                  <a:gd name="connsiteX6" fmla="*/ 714444 w 832894"/>
                  <a:gd name="connsiteY6" fmla="*/ 1741696 h 1741696"/>
                  <a:gd name="connsiteX7" fmla="*/ 501968 w 832894"/>
                  <a:gd name="connsiteY7" fmla="*/ 1667893 h 1741696"/>
                  <a:gd name="connsiteX8" fmla="*/ 260932 w 832894"/>
                  <a:gd name="connsiteY8" fmla="*/ 1493600 h 1741696"/>
                  <a:gd name="connsiteX9" fmla="*/ 271281 w 832894"/>
                  <a:gd name="connsiteY9" fmla="*/ 1465159 h 1741696"/>
                  <a:gd name="connsiteX10" fmla="*/ 320771 w 832894"/>
                  <a:gd name="connsiteY10" fmla="*/ 1132676 h 1741696"/>
                  <a:gd name="connsiteX11" fmla="*/ 127849 w 832894"/>
                  <a:gd name="connsiteY11" fmla="*/ 508288 h 1741696"/>
                  <a:gd name="connsiteX12" fmla="*/ 0 w 832894"/>
                  <a:gd name="connsiteY12" fmla="*/ 354488 h 1741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32894" h="1741696">
                    <a:moveTo>
                      <a:pt x="0" y="354488"/>
                    </a:moveTo>
                    <a:lnTo>
                      <a:pt x="247522" y="169879"/>
                    </a:lnTo>
                    <a:lnTo>
                      <a:pt x="373535" y="0"/>
                    </a:lnTo>
                    <a:lnTo>
                      <a:pt x="551167" y="214153"/>
                    </a:lnTo>
                    <a:cubicBezTo>
                      <a:pt x="728208" y="474741"/>
                      <a:pt x="832007" y="789171"/>
                      <a:pt x="832889" y="1127923"/>
                    </a:cubicBezTo>
                    <a:cubicBezTo>
                      <a:pt x="833330" y="1297297"/>
                      <a:pt x="808012" y="1460727"/>
                      <a:pt x="760622" y="1614500"/>
                    </a:cubicBezTo>
                    <a:lnTo>
                      <a:pt x="714444" y="1741696"/>
                    </a:lnTo>
                    <a:lnTo>
                      <a:pt x="501968" y="1667893"/>
                    </a:lnTo>
                    <a:lnTo>
                      <a:pt x="260932" y="1493600"/>
                    </a:lnTo>
                    <a:lnTo>
                      <a:pt x="271281" y="1465159"/>
                    </a:lnTo>
                    <a:cubicBezTo>
                      <a:pt x="303734" y="1360083"/>
                      <a:pt x="321073" y="1248410"/>
                      <a:pt x="320771" y="1132676"/>
                    </a:cubicBezTo>
                    <a:cubicBezTo>
                      <a:pt x="320168" y="901203"/>
                      <a:pt x="249087" y="686350"/>
                      <a:pt x="127849" y="508288"/>
                    </a:cubicBezTo>
                    <a:lnTo>
                      <a:pt x="0" y="354488"/>
                    </a:lnTo>
                    <a:close/>
                  </a:path>
                </a:pathLst>
              </a:custGeom>
              <a:solidFill>
                <a:srgbClr val="00206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sz="1600" err="1">
                  <a:latin typeface="Georgia" panose="02040502050405020303" pitchFamily="18" charset="0"/>
                </a:endParaRPr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7CED6B09-CCBA-1E75-B07B-D3D26195750A}"/>
                  </a:ext>
                </a:extLst>
              </p:cNvPr>
              <p:cNvSpPr/>
              <p:nvPr/>
            </p:nvSpPr>
            <p:spPr>
              <a:xfrm rot="2704479">
                <a:off x="6205541" y="4392970"/>
                <a:ext cx="2550093" cy="1212058"/>
              </a:xfrm>
              <a:custGeom>
                <a:avLst/>
                <a:gdLst>
                  <a:gd name="connsiteX0" fmla="*/ 21192 w 2550093"/>
                  <a:gd name="connsiteY0" fmla="*/ 697429 h 1212058"/>
                  <a:gd name="connsiteX1" fmla="*/ 1065806 w 2550093"/>
                  <a:gd name="connsiteY1" fmla="*/ 694708 h 1212058"/>
                  <a:gd name="connsiteX2" fmla="*/ 2096099 w 2550093"/>
                  <a:gd name="connsiteY2" fmla="*/ 9412 h 1212058"/>
                  <a:gd name="connsiteX3" fmla="*/ 2099523 w 2550093"/>
                  <a:gd name="connsiteY3" fmla="*/ 0 h 1212058"/>
                  <a:gd name="connsiteX4" fmla="*/ 2333155 w 2550093"/>
                  <a:gd name="connsiteY4" fmla="*/ 168939 h 1212058"/>
                  <a:gd name="connsiteX5" fmla="*/ 2550093 w 2550093"/>
                  <a:gd name="connsiteY5" fmla="*/ 244290 h 1212058"/>
                  <a:gd name="connsiteX6" fmla="*/ 2499726 w 2550093"/>
                  <a:gd name="connsiteY6" fmla="*/ 349546 h 1212058"/>
                  <a:gd name="connsiteX7" fmla="*/ 1063737 w 2550093"/>
                  <a:gd name="connsiteY7" fmla="*/ 1209286 h 1212058"/>
                  <a:gd name="connsiteX8" fmla="*/ 0 w 2550093"/>
                  <a:gd name="connsiteY8" fmla="*/ 1212058 h 1212058"/>
                  <a:gd name="connsiteX9" fmla="*/ 21192 w 2550093"/>
                  <a:gd name="connsiteY9" fmla="*/ 697429 h 1212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50093" h="1212058">
                    <a:moveTo>
                      <a:pt x="21192" y="697429"/>
                    </a:moveTo>
                    <a:lnTo>
                      <a:pt x="1065806" y="694708"/>
                    </a:lnTo>
                    <a:cubicBezTo>
                      <a:pt x="1529765" y="693499"/>
                      <a:pt x="1927104" y="410994"/>
                      <a:pt x="2096099" y="9412"/>
                    </a:cubicBezTo>
                    <a:lnTo>
                      <a:pt x="2099523" y="0"/>
                    </a:lnTo>
                    <a:lnTo>
                      <a:pt x="2333155" y="168939"/>
                    </a:lnTo>
                    <a:lnTo>
                      <a:pt x="2550093" y="244290"/>
                    </a:lnTo>
                    <a:lnTo>
                      <a:pt x="2499726" y="349546"/>
                    </a:lnTo>
                    <a:cubicBezTo>
                      <a:pt x="2224078" y="860136"/>
                      <a:pt x="1684779" y="1207668"/>
                      <a:pt x="1063737" y="1209286"/>
                    </a:cubicBezTo>
                    <a:lnTo>
                      <a:pt x="0" y="1212058"/>
                    </a:lnTo>
                    <a:lnTo>
                      <a:pt x="21192" y="697429"/>
                    </a:lnTo>
                    <a:close/>
                  </a:path>
                </a:pathLst>
              </a:custGeom>
              <a:solidFill>
                <a:srgbClr val="00206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err="1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88D38351-FC0D-AD5C-3980-8ABD2DDBE16B}"/>
                  </a:ext>
                </a:extLst>
              </p:cNvPr>
              <p:cNvSpPr/>
              <p:nvPr/>
            </p:nvSpPr>
            <p:spPr>
              <a:xfrm rot="2704479">
                <a:off x="2206776" y="4601176"/>
                <a:ext cx="2296062" cy="883214"/>
              </a:xfrm>
              <a:custGeom>
                <a:avLst/>
                <a:gdLst>
                  <a:gd name="connsiteX0" fmla="*/ 393863 w 2296062"/>
                  <a:gd name="connsiteY0" fmla="*/ 106398 h 883214"/>
                  <a:gd name="connsiteX1" fmla="*/ 441268 w 2296062"/>
                  <a:gd name="connsiteY1" fmla="*/ 145426 h 883214"/>
                  <a:gd name="connsiteX2" fmla="*/ 1067526 w 2296062"/>
                  <a:gd name="connsiteY2" fmla="*/ 336302 h 883214"/>
                  <a:gd name="connsiteX3" fmla="*/ 1859555 w 2296062"/>
                  <a:gd name="connsiteY3" fmla="*/ 8950 h 883214"/>
                  <a:gd name="connsiteX4" fmla="*/ 1867708 w 2296062"/>
                  <a:gd name="connsiteY4" fmla="*/ 0 h 883214"/>
                  <a:gd name="connsiteX5" fmla="*/ 2118247 w 2296062"/>
                  <a:gd name="connsiteY5" fmla="*/ 118385 h 883214"/>
                  <a:gd name="connsiteX6" fmla="*/ 2296062 w 2296062"/>
                  <a:gd name="connsiteY6" fmla="*/ 278537 h 883214"/>
                  <a:gd name="connsiteX7" fmla="*/ 2288991 w 2296062"/>
                  <a:gd name="connsiteY7" fmla="*/ 287994 h 883214"/>
                  <a:gd name="connsiteX8" fmla="*/ 1026853 w 2296062"/>
                  <a:gd name="connsiteY8" fmla="*/ 883214 h 883214"/>
                  <a:gd name="connsiteX9" fmla="*/ 112352 w 2296062"/>
                  <a:gd name="connsiteY9" fmla="*/ 603873 h 883214"/>
                  <a:gd name="connsiteX10" fmla="*/ 0 w 2296062"/>
                  <a:gd name="connsiteY10" fmla="*/ 511174 h 883214"/>
                  <a:gd name="connsiteX11" fmla="*/ 209524 w 2296062"/>
                  <a:gd name="connsiteY11" fmla="*/ 354907 h 883214"/>
                  <a:gd name="connsiteX12" fmla="*/ 393863 w 2296062"/>
                  <a:gd name="connsiteY12" fmla="*/ 106398 h 883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96062" h="883214">
                    <a:moveTo>
                      <a:pt x="393863" y="106398"/>
                    </a:moveTo>
                    <a:lnTo>
                      <a:pt x="441268" y="145426"/>
                    </a:lnTo>
                    <a:cubicBezTo>
                      <a:pt x="620037" y="265935"/>
                      <a:pt x="835546" y="336301"/>
                      <a:pt x="1067526" y="336302"/>
                    </a:cubicBezTo>
                    <a:cubicBezTo>
                      <a:pt x="1376833" y="336301"/>
                      <a:pt x="1656858" y="211204"/>
                      <a:pt x="1859555" y="8950"/>
                    </a:cubicBezTo>
                    <a:lnTo>
                      <a:pt x="1867708" y="0"/>
                    </a:lnTo>
                    <a:lnTo>
                      <a:pt x="2118247" y="118385"/>
                    </a:lnTo>
                    <a:lnTo>
                      <a:pt x="2296062" y="278537"/>
                    </a:lnTo>
                    <a:lnTo>
                      <a:pt x="2288991" y="287994"/>
                    </a:lnTo>
                    <a:cubicBezTo>
                      <a:pt x="1988990" y="651510"/>
                      <a:pt x="1534980" y="883214"/>
                      <a:pt x="1026853" y="883214"/>
                    </a:cubicBezTo>
                    <a:cubicBezTo>
                      <a:pt x="688102" y="883214"/>
                      <a:pt x="373401" y="780234"/>
                      <a:pt x="112352" y="603873"/>
                    </a:cubicBezTo>
                    <a:lnTo>
                      <a:pt x="0" y="511174"/>
                    </a:lnTo>
                    <a:lnTo>
                      <a:pt x="209524" y="354907"/>
                    </a:lnTo>
                    <a:lnTo>
                      <a:pt x="393863" y="106398"/>
                    </a:lnTo>
                    <a:close/>
                  </a:path>
                </a:pathLst>
              </a:custGeom>
              <a:solidFill>
                <a:srgbClr val="00206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 err="1"/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94439B5A-CBDA-14E1-EFC4-3B34B46E5437}"/>
                  </a:ext>
                </a:extLst>
              </p:cNvPr>
              <p:cNvSpPr txBox="1"/>
              <p:nvPr/>
            </p:nvSpPr>
            <p:spPr>
              <a:xfrm rot="1914307">
                <a:off x="4088221" y="2865609"/>
                <a:ext cx="910133" cy="694557"/>
              </a:xfrm>
              <a:prstGeom prst="rect">
                <a:avLst/>
              </a:prstGeom>
            </p:spPr>
            <p:txBody>
              <a:bodyPr vert="horz" wrap="none" lIns="90000" tIns="45720" rIns="91440" bIns="45720" rtlCol="0" anchor="t">
                <a:prstTxWarp prst="textArchUp">
                  <a:avLst/>
                </a:prstTxWarp>
                <a:spAutoFit/>
              </a:bodyPr>
              <a:lstStyle/>
              <a:p>
                <a:pPr algn="ctr"/>
                <a:r>
                  <a:rPr lang="en-US" sz="1200">
                    <a:solidFill>
                      <a:schemeClr val="bg1"/>
                    </a:solidFill>
                    <a:latin typeface="Georgia" panose="02040502050405020303" pitchFamily="18" charset="0"/>
                  </a:rPr>
                  <a:t>PLAN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45C1AAE6-2591-B9F6-3789-18A0CD9CB61B}"/>
                  </a:ext>
                </a:extLst>
              </p:cNvPr>
              <p:cNvSpPr txBox="1"/>
              <p:nvPr/>
            </p:nvSpPr>
            <p:spPr>
              <a:xfrm rot="20549522">
                <a:off x="2828780" y="3312886"/>
                <a:ext cx="914401" cy="914399"/>
              </a:xfrm>
              <a:prstGeom prst="rect">
                <a:avLst/>
              </a:prstGeom>
            </p:spPr>
            <p:txBody>
              <a:bodyPr vert="horz" wrap="none" lIns="90000" tIns="45720" rIns="91440" bIns="45720" rtlCol="0" anchor="t">
                <a:prstTxWarp prst="textArchUp">
                  <a:avLst/>
                </a:prstTxWarp>
                <a:noAutofit/>
              </a:bodyPr>
              <a:lstStyle/>
              <a:p>
                <a:pPr algn="l"/>
                <a:r>
                  <a:rPr lang="en-US" sz="1200">
                    <a:solidFill>
                      <a:schemeClr val="bg1"/>
                    </a:solidFill>
                    <a:latin typeface="Georgia" panose="02040502050405020303" pitchFamily="18" charset="0"/>
                  </a:rPr>
                  <a:t>CODE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0BC23647-7F04-A0F3-D5DE-8FF76966822C}"/>
                  </a:ext>
                </a:extLst>
              </p:cNvPr>
              <p:cNvSpPr txBox="1"/>
              <p:nvPr/>
            </p:nvSpPr>
            <p:spPr>
              <a:xfrm rot="21189035">
                <a:off x="3095530" y="4444308"/>
                <a:ext cx="914401" cy="914399"/>
              </a:xfrm>
              <a:prstGeom prst="rect">
                <a:avLst/>
              </a:prstGeom>
            </p:spPr>
            <p:txBody>
              <a:bodyPr vert="horz" wrap="none" lIns="90000" tIns="45720" rIns="91440" bIns="45720" rtlCol="0" anchor="t">
                <a:prstTxWarp prst="textArchDown">
                  <a:avLst/>
                </a:prstTxWarp>
                <a:noAutofit/>
              </a:bodyPr>
              <a:lstStyle/>
              <a:p>
                <a:pPr algn="l"/>
                <a:r>
                  <a:rPr lang="en-US" sz="1200">
                    <a:solidFill>
                      <a:schemeClr val="bg1"/>
                    </a:solidFill>
                    <a:latin typeface="Georgia" panose="02040502050405020303" pitchFamily="18" charset="0"/>
                  </a:rPr>
                  <a:t>BUILD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FE136AD6-7862-6AE6-500B-06B9B35AABBB}"/>
                  </a:ext>
                </a:extLst>
              </p:cNvPr>
              <p:cNvSpPr txBox="1"/>
              <p:nvPr/>
            </p:nvSpPr>
            <p:spPr>
              <a:xfrm rot="19104046">
                <a:off x="4799978" y="4732738"/>
                <a:ext cx="914401" cy="914399"/>
              </a:xfrm>
              <a:prstGeom prst="rect">
                <a:avLst/>
              </a:prstGeom>
            </p:spPr>
            <p:txBody>
              <a:bodyPr vert="horz" wrap="none" lIns="90000" tIns="45720" rIns="91440" bIns="45720" rtlCol="0" anchor="t">
                <a:noAutofit/>
              </a:bodyPr>
              <a:lstStyle/>
              <a:p>
                <a:pPr algn="l"/>
                <a:r>
                  <a:rPr lang="en-US" sz="1200">
                    <a:solidFill>
                      <a:schemeClr val="bg1"/>
                    </a:solidFill>
                    <a:latin typeface="Georgia" panose="02040502050405020303" pitchFamily="18" charset="0"/>
                  </a:rPr>
                  <a:t>TEST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E8FC1429-07FD-3E33-C9EE-F6EFE13FE5CC}"/>
                  </a:ext>
                </a:extLst>
              </p:cNvPr>
              <p:cNvSpPr txBox="1"/>
              <p:nvPr/>
            </p:nvSpPr>
            <p:spPr>
              <a:xfrm rot="19107573">
                <a:off x="6480051" y="3179495"/>
                <a:ext cx="914401" cy="914399"/>
              </a:xfrm>
              <a:prstGeom prst="rect">
                <a:avLst/>
              </a:prstGeom>
            </p:spPr>
            <p:txBody>
              <a:bodyPr vert="horz" wrap="none" lIns="90000" tIns="45720" rIns="91440" bIns="45720" rtlCol="0" anchor="t">
                <a:noAutofit/>
              </a:bodyPr>
              <a:lstStyle/>
              <a:p>
                <a:pPr algn="l"/>
                <a:r>
                  <a:rPr lang="en-US" sz="1200">
                    <a:solidFill>
                      <a:schemeClr val="bg1"/>
                    </a:solidFill>
                    <a:latin typeface="Georgia" panose="02040502050405020303" pitchFamily="18" charset="0"/>
                  </a:rPr>
                  <a:t>RELEASE</a:t>
                </a:r>
              </a:p>
            </p:txBody>
          </p:sp>
          <p:sp>
            <p:nvSpPr>
              <p:cNvPr id="34" name="Chevron 33">
                <a:extLst>
                  <a:ext uri="{FF2B5EF4-FFF2-40B4-BE49-F238E27FC236}">
                    <a16:creationId xmlns:a16="http://schemas.microsoft.com/office/drawing/2014/main" id="{86570FF9-0CA9-8888-3BD9-FED64E38F068}"/>
                  </a:ext>
                </a:extLst>
              </p:cNvPr>
              <p:cNvSpPr/>
              <p:nvPr/>
            </p:nvSpPr>
            <p:spPr>
              <a:xfrm rot="19266752">
                <a:off x="5601002" y="4334521"/>
                <a:ext cx="126528" cy="497052"/>
              </a:xfrm>
              <a:prstGeom prst="chevron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4C7B6F1A-719B-13EA-102A-6C9A82F787C9}"/>
                  </a:ext>
                </a:extLst>
              </p:cNvPr>
              <p:cNvSpPr txBox="1"/>
              <p:nvPr/>
            </p:nvSpPr>
            <p:spPr>
              <a:xfrm rot="5715232">
                <a:off x="8049697" y="2953637"/>
                <a:ext cx="1122651" cy="1161676"/>
              </a:xfrm>
              <a:prstGeom prst="rect">
                <a:avLst/>
              </a:prstGeom>
            </p:spPr>
            <p:txBody>
              <a:bodyPr vert="horz" wrap="none" lIns="90000" tIns="45720" rIns="91440" bIns="45720" rtlCol="0" anchor="t">
                <a:prstTxWarp prst="textArchUp">
                  <a:avLst/>
                </a:prstTxWarp>
                <a:noAutofit/>
              </a:bodyPr>
              <a:lstStyle/>
              <a:p>
                <a:pPr algn="l"/>
                <a:r>
                  <a:rPr lang="en-US" sz="1200">
                    <a:solidFill>
                      <a:schemeClr val="bg1"/>
                    </a:solidFill>
                    <a:latin typeface="Georgia" panose="02040502050405020303" pitchFamily="18" charset="0"/>
                  </a:rPr>
                  <a:t>DEPLOY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75A760B6-73B9-3CB5-A379-7F85402B9552}"/>
                  </a:ext>
                </a:extLst>
              </p:cNvPr>
              <p:cNvSpPr txBox="1"/>
              <p:nvPr/>
            </p:nvSpPr>
            <p:spPr>
              <a:xfrm rot="14909833">
                <a:off x="7893966" y="3852397"/>
                <a:ext cx="1401784" cy="1592234"/>
              </a:xfrm>
              <a:prstGeom prst="rect">
                <a:avLst/>
              </a:prstGeom>
            </p:spPr>
            <p:txBody>
              <a:bodyPr vert="horz" wrap="none" lIns="90000" tIns="45720" rIns="91440" bIns="45720" rtlCol="0" anchor="t">
                <a:prstTxWarp prst="textArchDown">
                  <a:avLst/>
                </a:prstTxWarp>
                <a:noAutofit/>
              </a:bodyPr>
              <a:lstStyle/>
              <a:p>
                <a:pPr algn="l"/>
                <a:r>
                  <a:rPr lang="en-US" sz="1200">
                    <a:solidFill>
                      <a:schemeClr val="bg1"/>
                    </a:solidFill>
                    <a:latin typeface="Georgia" panose="02040502050405020303" pitchFamily="18" charset="0"/>
                  </a:rPr>
                  <a:t>OPERATE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F0CB7F20-0BEC-F2D6-742C-521EEA06BF7D}"/>
                  </a:ext>
                </a:extLst>
              </p:cNvPr>
              <p:cNvSpPr txBox="1"/>
              <p:nvPr/>
            </p:nvSpPr>
            <p:spPr>
              <a:xfrm rot="1154879">
                <a:off x="6991867" y="4939899"/>
                <a:ext cx="2072234" cy="672637"/>
              </a:xfrm>
              <a:prstGeom prst="rect">
                <a:avLst/>
              </a:prstGeom>
            </p:spPr>
            <p:txBody>
              <a:bodyPr vert="horz" wrap="none" lIns="90000" tIns="45720" rIns="91440" bIns="45720" rtlCol="0" anchor="t">
                <a:prstTxWarp prst="textArchDown">
                  <a:avLst/>
                </a:prstTxWarp>
                <a:noAutofit/>
              </a:bodyPr>
              <a:lstStyle/>
              <a:p>
                <a:pPr algn="l"/>
                <a:r>
                  <a:rPr lang="en-US" sz="1200">
                    <a:solidFill>
                      <a:schemeClr val="bg1"/>
                    </a:solidFill>
                    <a:latin typeface="Georgia" panose="02040502050405020303" pitchFamily="18" charset="0"/>
                  </a:rPr>
                  <a:t>MONITOR</a:t>
                </a:r>
              </a:p>
            </p:txBody>
          </p:sp>
          <p:sp>
            <p:nvSpPr>
              <p:cNvPr id="38" name="Chevron 37">
                <a:extLst>
                  <a:ext uri="{FF2B5EF4-FFF2-40B4-BE49-F238E27FC236}">
                    <a16:creationId xmlns:a16="http://schemas.microsoft.com/office/drawing/2014/main" id="{B11D375D-66D3-D34C-1FB3-1B81F369E9F6}"/>
                  </a:ext>
                </a:extLst>
              </p:cNvPr>
              <p:cNvSpPr/>
              <p:nvPr/>
            </p:nvSpPr>
            <p:spPr>
              <a:xfrm rot="13190112">
                <a:off x="6522272" y="4360083"/>
                <a:ext cx="126528" cy="497052"/>
              </a:xfrm>
              <a:prstGeom prst="chevron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0656491C-B795-BB97-C35D-8796C3EE1B5E}"/>
                </a:ext>
              </a:extLst>
            </p:cNvPr>
            <p:cNvCxnSpPr/>
            <p:nvPr/>
          </p:nvCxnSpPr>
          <p:spPr>
            <a:xfrm>
              <a:off x="8372259" y="3114840"/>
              <a:ext cx="1219200" cy="0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88CB1FC4-5064-7A5E-7A0B-3E31A5DD3578}"/>
                </a:ext>
              </a:extLst>
            </p:cNvPr>
            <p:cNvCxnSpPr>
              <a:cxnSpLocks/>
            </p:cNvCxnSpPr>
            <p:nvPr/>
          </p:nvCxnSpPr>
          <p:spPr>
            <a:xfrm>
              <a:off x="8464623" y="4278270"/>
              <a:ext cx="1725197" cy="15391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3B9108AB-69D0-4B9A-68AB-1127982CA26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475171" y="3274294"/>
              <a:ext cx="820125" cy="0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67F4A84-F12C-406D-4BAA-D5A44B7435F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825605" y="4353880"/>
              <a:ext cx="1503557" cy="0"/>
            </a:xfrm>
            <a:prstGeom prst="line">
              <a:avLst/>
            </a:prstGeom>
            <a:ln>
              <a:tailEnd type="oval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32A7B51F-7D8A-CB33-2632-4C5A43232854}"/>
              </a:ext>
            </a:extLst>
          </p:cNvPr>
          <p:cNvSpPr/>
          <p:nvPr/>
        </p:nvSpPr>
        <p:spPr>
          <a:xfrm>
            <a:off x="3600658" y="1155890"/>
            <a:ext cx="2103120" cy="731520"/>
          </a:xfrm>
          <a:prstGeom prst="roundRect">
            <a:avLst/>
          </a:prstGeom>
          <a:ln w="3175">
            <a:prstDash val="lgDashDot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0"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Requirement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Prioritizatio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Groom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Communication &amp; Collaboration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20C3F9D3-DB46-D2B9-1588-1F49BE86DF98}"/>
              </a:ext>
            </a:extLst>
          </p:cNvPr>
          <p:cNvSpPr/>
          <p:nvPr/>
        </p:nvSpPr>
        <p:spPr>
          <a:xfrm>
            <a:off x="6186880" y="1492554"/>
            <a:ext cx="2103120" cy="731520"/>
          </a:xfrm>
          <a:prstGeom prst="roundRect">
            <a:avLst/>
          </a:prstGeom>
          <a:ln w="3175">
            <a:prstDash val="lgDashDot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Release Plan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Deployment Autom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Impact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Release Tes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Release Documentation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BCE35BD0-8266-F0DC-3F6A-795C703DBF2F}"/>
              </a:ext>
            </a:extLst>
          </p:cNvPr>
          <p:cNvSpPr/>
          <p:nvPr/>
        </p:nvSpPr>
        <p:spPr>
          <a:xfrm>
            <a:off x="9349627" y="2557659"/>
            <a:ext cx="2103120" cy="731520"/>
          </a:xfrm>
          <a:prstGeom prst="roundRect">
            <a:avLst/>
          </a:prstGeom>
          <a:ln w="3175">
            <a:prstDash val="lgDashDot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Environment Configu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Deployment Autom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Rollback Strateg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Security Compli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Artifact Management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EF9DF47F-2143-FD37-E847-CA761EAC6247}"/>
              </a:ext>
            </a:extLst>
          </p:cNvPr>
          <p:cNvSpPr/>
          <p:nvPr/>
        </p:nvSpPr>
        <p:spPr>
          <a:xfrm>
            <a:off x="9832444" y="3800822"/>
            <a:ext cx="2103120" cy="731520"/>
          </a:xfrm>
          <a:prstGeom prst="roundRect">
            <a:avLst/>
          </a:prstGeom>
          <a:ln w="3175">
            <a:prstDash val="lgDashDot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Monitoring &amp; Aler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Incident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Root cause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User Suppor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Compliance &amp; Reporting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57AAD623-27E7-E34F-16E9-186321953B44}"/>
              </a:ext>
            </a:extLst>
          </p:cNvPr>
          <p:cNvSpPr/>
          <p:nvPr/>
        </p:nvSpPr>
        <p:spPr>
          <a:xfrm>
            <a:off x="3603108" y="4914105"/>
            <a:ext cx="2103120" cy="731520"/>
          </a:xfrm>
          <a:prstGeom prst="roundRect">
            <a:avLst/>
          </a:prstGeom>
          <a:ln w="3175">
            <a:prstDash val="lgDashDot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Test Case Gene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Test Data Gene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Test Autom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Coverage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NFR Testing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8CA76EC5-582A-69AF-F8E0-A39374CDC403}"/>
              </a:ext>
            </a:extLst>
          </p:cNvPr>
          <p:cNvSpPr/>
          <p:nvPr/>
        </p:nvSpPr>
        <p:spPr>
          <a:xfrm>
            <a:off x="6206702" y="4732926"/>
            <a:ext cx="2103120" cy="731520"/>
          </a:xfrm>
          <a:prstGeom prst="roundRect">
            <a:avLst/>
          </a:prstGeom>
          <a:ln w="3175">
            <a:prstDash val="lgDashDot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Incident Dete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Repor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Resource Optimiz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Log analysis &amp; management</a:t>
            </a: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0EDF5F3C-1760-C28E-1229-5346F4DCB21F}"/>
              </a:ext>
            </a:extLst>
          </p:cNvPr>
          <p:cNvSpPr/>
          <p:nvPr/>
        </p:nvSpPr>
        <p:spPr>
          <a:xfrm>
            <a:off x="1037042" y="2749739"/>
            <a:ext cx="2103120" cy="731520"/>
          </a:xfrm>
          <a:prstGeom prst="roundRect">
            <a:avLst/>
          </a:prstGeom>
          <a:ln w="3175">
            <a:prstDash val="lgDashDot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Coding / Develop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Document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Understanding legacy cod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Optimization &amp; Secure coding</a:t>
            </a:r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ADDCB85D-3FCF-DA63-9AC2-A68853BBB2FF}"/>
              </a:ext>
            </a:extLst>
          </p:cNvPr>
          <p:cNvSpPr/>
          <p:nvPr/>
        </p:nvSpPr>
        <p:spPr>
          <a:xfrm>
            <a:off x="501014" y="3775471"/>
            <a:ext cx="2103120" cy="731520"/>
          </a:xfrm>
          <a:prstGeom prst="roundRect">
            <a:avLst/>
          </a:prstGeom>
          <a:ln w="3175">
            <a:prstDash val="lgDashDot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Code Review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Testing Autom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Bug detection &amp; remedi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Code version contro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/>
              <a:t>Release management</a:t>
            </a:r>
          </a:p>
        </p:txBody>
      </p:sp>
      <p:sp>
        <p:nvSpPr>
          <p:cNvPr id="7" name="Teardrop 6">
            <a:extLst>
              <a:ext uri="{FF2B5EF4-FFF2-40B4-BE49-F238E27FC236}">
                <a16:creationId xmlns:a16="http://schemas.microsoft.com/office/drawing/2014/main" id="{A069C213-AEBC-31CC-4332-768F65765B76}"/>
              </a:ext>
            </a:extLst>
          </p:cNvPr>
          <p:cNvSpPr/>
          <p:nvPr/>
        </p:nvSpPr>
        <p:spPr>
          <a:xfrm rot="2785553">
            <a:off x="4082373" y="2833466"/>
            <a:ext cx="1377002" cy="1369137"/>
          </a:xfrm>
          <a:prstGeom prst="teardrop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ysClr val="windowText" lastClr="000000"/>
              </a:solidFill>
            </a:endParaRPr>
          </a:p>
        </p:txBody>
      </p:sp>
      <p:sp>
        <p:nvSpPr>
          <p:cNvPr id="42" name="Teardrop 41">
            <a:extLst>
              <a:ext uri="{FF2B5EF4-FFF2-40B4-BE49-F238E27FC236}">
                <a16:creationId xmlns:a16="http://schemas.microsoft.com/office/drawing/2014/main" id="{19D474F1-342C-12F8-C1F9-7FE6CA03388F}"/>
              </a:ext>
            </a:extLst>
          </p:cNvPr>
          <p:cNvSpPr/>
          <p:nvPr/>
        </p:nvSpPr>
        <p:spPr>
          <a:xfrm rot="13585553">
            <a:off x="6603629" y="2854904"/>
            <a:ext cx="1377002" cy="1369137"/>
          </a:xfrm>
          <a:prstGeom prst="teardrop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D68FED7-A605-627F-154B-2FC6DFC55CD8}"/>
              </a:ext>
            </a:extLst>
          </p:cNvPr>
          <p:cNvSpPr txBox="1"/>
          <p:nvPr/>
        </p:nvSpPr>
        <p:spPr>
          <a:xfrm>
            <a:off x="4500686" y="3339680"/>
            <a:ext cx="593581" cy="369332"/>
          </a:xfrm>
          <a:prstGeom prst="rect">
            <a:avLst/>
          </a:prstGeom>
        </p:spPr>
        <p:txBody>
          <a:bodyPr vert="horz" wrap="none" lIns="90000" tIns="45720" rIns="91440" bIns="45720" rtlCol="0" anchor="t">
            <a:spAutoFit/>
          </a:bodyPr>
          <a:lstStyle/>
          <a:p>
            <a:pPr algn="l"/>
            <a:r>
              <a:rPr lang="en-US"/>
              <a:t>Dev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56A8204-E909-7BBD-97A1-36E239F84EB6}"/>
              </a:ext>
            </a:extLst>
          </p:cNvPr>
          <p:cNvSpPr txBox="1"/>
          <p:nvPr/>
        </p:nvSpPr>
        <p:spPr>
          <a:xfrm>
            <a:off x="7008623" y="3397994"/>
            <a:ext cx="606405" cy="369332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en-US"/>
              <a:t>Ops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77C4043B-5A23-959D-91F9-77A2C76A9FB7}"/>
              </a:ext>
            </a:extLst>
          </p:cNvPr>
          <p:cNvSpPr/>
          <p:nvPr/>
        </p:nvSpPr>
        <p:spPr>
          <a:xfrm>
            <a:off x="598384" y="5979788"/>
            <a:ext cx="2037048" cy="362607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>
                <a:latin typeface="Georgia" panose="02040502050405020303" pitchFamily="18" charset="0"/>
              </a:rPr>
              <a:t>Rumor driven development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82FAF4ED-A892-26A1-4E68-26F49FB0E24A}"/>
              </a:ext>
            </a:extLst>
          </p:cNvPr>
          <p:cNvSpPr/>
          <p:nvPr/>
        </p:nvSpPr>
        <p:spPr>
          <a:xfrm>
            <a:off x="9349627" y="5979788"/>
            <a:ext cx="2459965" cy="362607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>
                <a:latin typeface="Georgia" panose="02040502050405020303" pitchFamily="18" charset="0"/>
              </a:rPr>
              <a:t>Repetitive mundane manual steps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1E455AFD-C9A8-ABD4-6FDA-C0F49E8DCE9D}"/>
              </a:ext>
            </a:extLst>
          </p:cNvPr>
          <p:cNvSpPr/>
          <p:nvPr/>
        </p:nvSpPr>
        <p:spPr>
          <a:xfrm>
            <a:off x="3233520" y="5979788"/>
            <a:ext cx="2459965" cy="362607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>
                <a:latin typeface="Georgia" panose="02040502050405020303" pitchFamily="18" charset="0"/>
              </a:rPr>
              <a:t>Cognitive overload</a:t>
            </a: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2615E188-272F-3A79-AF4F-E0A2B05BE523}"/>
              </a:ext>
            </a:extLst>
          </p:cNvPr>
          <p:cNvSpPr/>
          <p:nvPr/>
        </p:nvSpPr>
        <p:spPr>
          <a:xfrm>
            <a:off x="6291573" y="5979788"/>
            <a:ext cx="2459965" cy="362607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00" b="1">
                <a:latin typeface="Georgia" panose="02040502050405020303" pitchFamily="18" charset="0"/>
              </a:rPr>
              <a:t>Lack of automation</a:t>
            </a:r>
          </a:p>
        </p:txBody>
      </p:sp>
    </p:spTree>
    <p:extLst>
      <p:ext uri="{BB962C8B-B14F-4D97-AF65-F5344CB8AC3E}">
        <p14:creationId xmlns:p14="http://schemas.microsoft.com/office/powerpoint/2010/main" val="20491689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1C9DE0-7F6C-0B8C-37ED-6DA111A06C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339" y="-3044"/>
            <a:ext cx="12082551" cy="990001"/>
          </a:xfrm>
          <a:solidFill>
            <a:schemeClr val="tx2"/>
          </a:solidFill>
        </p:spPr>
        <p:txBody>
          <a:bodyPr/>
          <a:lstStyle/>
          <a:p>
            <a:pPr>
              <a:spcAft>
                <a:spcPts val="1500"/>
              </a:spcAft>
              <a:buClrTx/>
              <a:buSzTx/>
              <a:defRPr/>
            </a:pPr>
            <a:r>
              <a:rPr lang="en-US" sz="2300">
                <a:solidFill>
                  <a:schemeClr val="bg1"/>
                </a:solidFill>
                <a:latin typeface="+mn-lt"/>
                <a:ea typeface="Cambria"/>
                <a:cs typeface="Calibri"/>
              </a:rPr>
              <a:t>Accelerate Application Development with Generative AI - CORA Code GenY Accelerators</a:t>
            </a:r>
          </a:p>
        </p:txBody>
      </p:sp>
      <p:sp>
        <p:nvSpPr>
          <p:cNvPr id="73" name="Content Placeholder 72">
            <a:extLst>
              <a:ext uri="{FF2B5EF4-FFF2-40B4-BE49-F238E27FC236}">
                <a16:creationId xmlns:a16="http://schemas.microsoft.com/office/drawing/2014/main" id="{511F1744-2608-A4F1-4358-14378C6A24C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2799" y="1165510"/>
            <a:ext cx="11303999" cy="496529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sz="1400" kern="0">
                <a:ea typeface="+mj-ea"/>
                <a:cs typeface="+mj-cs"/>
              </a:rPr>
              <a:t>To improve development productivity, Time to market, and reduced defect injection through Generative </a:t>
            </a:r>
            <a:r>
              <a:rPr lang="en-US" kern="0">
                <a:ea typeface="+mj-ea"/>
                <a:cs typeface="+mj-cs"/>
              </a:rPr>
              <a:t>AI</a:t>
            </a:r>
            <a:r>
              <a:rPr lang="en-US" sz="1400" kern="0">
                <a:ea typeface="+mj-ea"/>
                <a:cs typeface="+mj-cs"/>
              </a:rPr>
              <a:t> Accelerators</a:t>
            </a:r>
          </a:p>
          <a:p>
            <a:endParaRPr lang="en-IN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8D6A269-80C1-F6AD-65DA-D877C429130B}"/>
              </a:ext>
            </a:extLst>
          </p:cNvPr>
          <p:cNvSpPr txBox="1">
            <a:spLocks/>
          </p:cNvSpPr>
          <p:nvPr/>
        </p:nvSpPr>
        <p:spPr>
          <a:xfrm>
            <a:off x="318272" y="1165509"/>
            <a:ext cx="11403855" cy="52087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6" indent="-228606" algn="l" defTabSz="914422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231F20"/>
                </a:solidFill>
                <a:latin typeface="+mn-lt"/>
                <a:ea typeface="+mn-ea"/>
                <a:cs typeface="+mn-cs"/>
              </a:defRPr>
            </a:lvl1pPr>
            <a:lvl2pPr marL="685817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Montserrat" panose="00000500000000000000" pitchFamily="2" charset="0"/>
              <a:buChar char="–"/>
              <a:defRPr sz="2400" kern="1200">
                <a:solidFill>
                  <a:srgbClr val="231F20"/>
                </a:solidFill>
                <a:latin typeface="+mn-lt"/>
                <a:ea typeface="+mn-ea"/>
                <a:cs typeface="+mn-cs"/>
              </a:defRPr>
            </a:lvl2pPr>
            <a:lvl3pPr marL="1143028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231F20"/>
                </a:solidFill>
                <a:latin typeface="+mn-lt"/>
                <a:ea typeface="+mn-ea"/>
                <a:cs typeface="+mn-cs"/>
              </a:defRPr>
            </a:lvl3pPr>
            <a:lvl4pPr marL="1600240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Montserrat" panose="00000500000000000000" pitchFamily="2" charset="0"/>
              <a:buChar char="◆"/>
              <a:defRPr sz="1801" kern="1200">
                <a:solidFill>
                  <a:srgbClr val="231F20"/>
                </a:solidFill>
                <a:latin typeface="+mn-lt"/>
                <a:ea typeface="+mn-ea"/>
                <a:cs typeface="+mn-cs"/>
              </a:defRPr>
            </a:lvl4pPr>
            <a:lvl5pPr marL="2057451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Montserrat" panose="00000500000000000000" pitchFamily="2" charset="0"/>
              <a:buChar char="–"/>
              <a:defRPr sz="1801" kern="1200">
                <a:solidFill>
                  <a:srgbClr val="231F20"/>
                </a:solidFill>
                <a:latin typeface="+mn-lt"/>
                <a:ea typeface="+mn-ea"/>
                <a:cs typeface="+mn-cs"/>
              </a:defRPr>
            </a:lvl5pPr>
            <a:lvl6pPr marL="2514664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1400" kern="0">
              <a:ea typeface="+mj-ea"/>
              <a:cs typeface="+mj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967E24-6FD2-E3D6-8B45-8ED69483F801}"/>
              </a:ext>
            </a:extLst>
          </p:cNvPr>
          <p:cNvSpPr/>
          <p:nvPr/>
        </p:nvSpPr>
        <p:spPr>
          <a:xfrm>
            <a:off x="457314" y="1815151"/>
            <a:ext cx="3634513" cy="45025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ituation/Challeng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C0F8FA1-4873-D72E-B64C-F76FF8C571D1}"/>
              </a:ext>
            </a:extLst>
          </p:cNvPr>
          <p:cNvSpPr/>
          <p:nvPr/>
        </p:nvSpPr>
        <p:spPr>
          <a:xfrm>
            <a:off x="457314" y="2265403"/>
            <a:ext cx="3642637" cy="37319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45720" bIns="45720" rtlCol="0" anchor="t" anchorCtr="0">
            <a:noAutofit/>
          </a:bodyPr>
          <a:lstStyle/>
          <a:p>
            <a:pPr marL="171450" indent="-171450">
              <a:spcBef>
                <a:spcPct val="20000"/>
              </a:spcBef>
              <a:buClr>
                <a:schemeClr val="tx1"/>
              </a:buClr>
              <a:buSzPct val="90000"/>
              <a:buFont typeface="Arial" pitchFamily="34" charset="0"/>
              <a:buChar char="•"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Application development </a:t>
            </a:r>
            <a:r>
              <a:rPr lang="en-US" sz="1200" kern="0">
                <a:solidFill>
                  <a:schemeClr val="tx1"/>
                </a:solidFill>
              </a:rPr>
              <a:t>- Dynamic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and constantly evolving </a:t>
            </a:r>
            <a:r>
              <a:rPr lang="en-US" sz="1200" kern="0">
                <a:solidFill>
                  <a:schemeClr val="tx1"/>
                </a:solidFill>
              </a:rPr>
              <a:t>field</a:t>
            </a:r>
            <a:endParaRPr lang="en-US" sz="1200">
              <a:solidFill>
                <a:schemeClr val="tx1"/>
              </a:solidFill>
            </a:endParaRPr>
          </a:p>
          <a:p>
            <a:pPr marL="171450" indent="-171450">
              <a:spcBef>
                <a:spcPct val="20000"/>
              </a:spcBef>
              <a:buClr>
                <a:schemeClr val="tx1"/>
              </a:buClr>
              <a:buSzPct val="90000"/>
              <a:buFont typeface="Arial" pitchFamily="34" charset="0"/>
              <a:buChar char="•"/>
              <a:defRPr/>
            </a:pPr>
            <a:endParaRPr lang="en-US" sz="1200" kern="0">
              <a:solidFill>
                <a:schemeClr val="tx1"/>
              </a:solidFill>
            </a:endParaRPr>
          </a:p>
          <a:p>
            <a:pPr marL="171450" indent="-171450">
              <a:spcBef>
                <a:spcPct val="20000"/>
              </a:spcBef>
              <a:buClr>
                <a:schemeClr val="tx1"/>
              </a:buClr>
              <a:buSzPct val="90000"/>
              <a:buFont typeface="Arial" pitchFamily="34" charset="0"/>
              <a:buChar char="•"/>
              <a:defRPr/>
            </a:pPr>
            <a:r>
              <a:rPr lang="en-US" sz="1200" kern="0">
                <a:solidFill>
                  <a:schemeClr val="tx1"/>
                </a:solidFill>
              </a:rPr>
              <a:t>Target SDLC modules: </a:t>
            </a:r>
            <a:r>
              <a:rPr lang="en-US" sz="1200" kern="0">
                <a:solidFill>
                  <a:schemeClr val="tx1"/>
                </a:solidFill>
                <a:ea typeface="+mn-lt"/>
                <a:cs typeface="+mn-lt"/>
              </a:rPr>
              <a:t>Dev &amp; QA</a:t>
            </a:r>
            <a:endParaRPr lang="en-US" sz="1200">
              <a:solidFill>
                <a:schemeClr val="tx1"/>
              </a:solidFill>
              <a:ea typeface="+mn-lt"/>
              <a:cs typeface="+mn-lt"/>
            </a:endParaRPr>
          </a:p>
          <a:p>
            <a:pPr marL="171450" indent="-171450">
              <a:spcBef>
                <a:spcPct val="20000"/>
              </a:spcBef>
              <a:buClr>
                <a:schemeClr val="tx1"/>
              </a:buClr>
              <a:buSzPct val="90000"/>
              <a:buFont typeface="Arial" pitchFamily="34" charset="0"/>
              <a:buChar char="•"/>
              <a:defRPr/>
            </a:pPr>
            <a:endParaRPr lang="en-US" sz="1200" kern="0">
              <a:solidFill>
                <a:schemeClr val="tx1"/>
              </a:solidFill>
            </a:endParaRPr>
          </a:p>
          <a:p>
            <a:pPr marL="171450" indent="-171450">
              <a:spcBef>
                <a:spcPct val="20000"/>
              </a:spcBef>
              <a:buClr>
                <a:schemeClr val="tx1"/>
              </a:buClr>
              <a:buSzPct val="90000"/>
              <a:buFont typeface="Arial" pitchFamily="34" charset="0"/>
              <a:buChar char="•"/>
              <a:defRPr/>
            </a:pPr>
            <a:r>
              <a:rPr lang="en-US" sz="1200" kern="0">
                <a:solidFill>
                  <a:schemeClr val="tx1"/>
                </a:solidFill>
              </a:rPr>
              <a:t>Key challenges:</a:t>
            </a:r>
            <a:endParaRPr lang="en-US" sz="1200">
              <a:solidFill>
                <a:schemeClr val="tx1"/>
              </a:solidFill>
            </a:endParaRPr>
          </a:p>
          <a:p>
            <a:pPr marL="171450" indent="-171450">
              <a:spcBef>
                <a:spcPct val="20000"/>
              </a:spcBef>
              <a:buClr>
                <a:schemeClr val="tx1"/>
              </a:buClr>
              <a:buSzPct val="90000"/>
              <a:buFont typeface="Arial" pitchFamily="34" charset="0"/>
              <a:buChar char="•"/>
              <a:defRPr/>
            </a:pPr>
            <a:endParaRPr lang="en-US" sz="1200" kern="0">
              <a:solidFill>
                <a:schemeClr val="tx1"/>
              </a:solidFill>
            </a:endParaRPr>
          </a:p>
          <a:p>
            <a:pPr marL="628650" lvl="1" indent="-171450">
              <a:spcBef>
                <a:spcPct val="200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ü"/>
              <a:defRPr/>
            </a:pPr>
            <a:r>
              <a:rPr kumimoji="0" lang="en-US" sz="120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Managing </a:t>
            </a:r>
            <a:r>
              <a:rPr lang="en-US" sz="1200" kern="0">
                <a:solidFill>
                  <a:schemeClr val="tx1"/>
                </a:solidFill>
              </a:rPr>
              <a:t>complexity around</a:t>
            </a:r>
            <a:r>
              <a:rPr kumimoji="0" lang="en-US" sz="120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maintainability, scalability, and performance</a:t>
            </a:r>
            <a:endParaRPr lang="en-US" sz="120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Arial"/>
            </a:endParaRPr>
          </a:p>
          <a:p>
            <a:pPr marL="628650" lvl="1" indent="-171450">
              <a:spcBef>
                <a:spcPct val="200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ü"/>
              <a:defRPr/>
            </a:pPr>
            <a:endParaRPr lang="en-US" sz="120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628650" lvl="1" indent="-171450">
              <a:spcBef>
                <a:spcPct val="200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ü"/>
              <a:defRPr/>
            </a:pPr>
            <a:r>
              <a:rPr lang="en-US" sz="1200" kern="0">
                <a:solidFill>
                  <a:schemeClr val="tx1"/>
                </a:solidFill>
              </a:rPr>
              <a:t>Stay competitive by adopting </a:t>
            </a:r>
            <a:r>
              <a:rPr kumimoji="0" lang="en-US" sz="120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new technologies</a:t>
            </a:r>
            <a:r>
              <a:rPr lang="en-US" sz="1200" kern="0">
                <a:solidFill>
                  <a:schemeClr val="tx1"/>
                </a:solidFill>
              </a:rPr>
              <a:t>, </a:t>
            </a:r>
            <a:r>
              <a:rPr kumimoji="0" lang="en-US" sz="120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frameworks, libraries, and programming languages</a:t>
            </a:r>
            <a:endParaRPr lang="en-US" sz="120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Arial"/>
            </a:endParaRPr>
          </a:p>
          <a:p>
            <a:pPr marL="628650" lvl="1" indent="-171450">
              <a:spcBef>
                <a:spcPct val="200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ü"/>
              <a:defRPr/>
            </a:pPr>
            <a:endParaRPr lang="en-US" sz="120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628650" lvl="1" indent="-171450">
              <a:spcBef>
                <a:spcPct val="200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ü"/>
              <a:defRPr/>
            </a:pPr>
            <a:r>
              <a:rPr lang="en-US" sz="1200" kern="0">
                <a:solidFill>
                  <a:schemeClr val="tx1"/>
                </a:solidFill>
                <a:ea typeface="+mn-lt"/>
                <a:cs typeface="+mn-lt"/>
              </a:rPr>
              <a:t>Manual </a:t>
            </a:r>
            <a:r>
              <a:rPr lang="en-US" sz="1200" kern="0">
                <a:solidFill>
                  <a:schemeClr val="tx1"/>
                </a:solidFill>
              </a:rPr>
              <a:t>&amp; complex</a:t>
            </a:r>
            <a:r>
              <a:rPr lang="en-US" sz="1200" kern="0">
                <a:solidFill>
                  <a:schemeClr val="tx1"/>
                </a:solidFill>
                <a:cs typeface="Arial"/>
              </a:rPr>
              <a:t> </a:t>
            </a:r>
            <a:r>
              <a:rPr lang="en-US" sz="1200" kern="0">
                <a:solidFill>
                  <a:schemeClr val="tx1"/>
                </a:solidFill>
              </a:rPr>
              <a:t>coding </a:t>
            </a:r>
            <a:endParaRPr lang="en-US" sz="1200">
              <a:solidFill>
                <a:schemeClr val="tx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B9F7332-5666-B109-D5B8-304DAF1E0A49}"/>
              </a:ext>
            </a:extLst>
          </p:cNvPr>
          <p:cNvGrpSpPr/>
          <p:nvPr/>
        </p:nvGrpSpPr>
        <p:grpSpPr>
          <a:xfrm>
            <a:off x="615349" y="1538523"/>
            <a:ext cx="421720" cy="582769"/>
            <a:chOff x="7422435" y="2323161"/>
            <a:chExt cx="421720" cy="582769"/>
          </a:xfrm>
        </p:grpSpPr>
        <p:sp>
          <p:nvSpPr>
            <p:cNvPr id="8" name="Graphic 2">
              <a:extLst>
                <a:ext uri="{FF2B5EF4-FFF2-40B4-BE49-F238E27FC236}">
                  <a16:creationId xmlns:a16="http://schemas.microsoft.com/office/drawing/2014/main" id="{FD356F07-9A45-ED4B-2B14-8063E02E6321}"/>
                </a:ext>
              </a:extLst>
            </p:cNvPr>
            <p:cNvSpPr/>
            <p:nvPr/>
          </p:nvSpPr>
          <p:spPr>
            <a:xfrm flipH="1">
              <a:off x="7422435" y="2323161"/>
              <a:ext cx="421720" cy="582769"/>
            </a:xfrm>
            <a:custGeom>
              <a:avLst/>
              <a:gdLst>
                <a:gd name="connsiteX0" fmla="*/ 0 w 420541"/>
                <a:gd name="connsiteY0" fmla="*/ 147870 h 581136"/>
                <a:gd name="connsiteX1" fmla="*/ 212489 w 420541"/>
                <a:gd name="connsiteY1" fmla="*/ 0 h 581136"/>
                <a:gd name="connsiteX2" fmla="*/ 421521 w 420541"/>
                <a:gd name="connsiteY2" fmla="*/ 147870 h 581136"/>
                <a:gd name="connsiteX3" fmla="*/ 421521 w 420541"/>
                <a:gd name="connsiteY3" fmla="*/ 438465 h 581136"/>
                <a:gd name="connsiteX4" fmla="*/ 210761 w 420541"/>
                <a:gd name="connsiteY4" fmla="*/ 581191 h 581136"/>
                <a:gd name="connsiteX5" fmla="*/ 0 w 420541"/>
                <a:gd name="connsiteY5" fmla="*/ 436750 h 581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0541" h="581136">
                  <a:moveTo>
                    <a:pt x="0" y="147870"/>
                  </a:moveTo>
                  <a:lnTo>
                    <a:pt x="212489" y="0"/>
                  </a:lnTo>
                  <a:lnTo>
                    <a:pt x="421521" y="147870"/>
                  </a:lnTo>
                  <a:lnTo>
                    <a:pt x="421521" y="438465"/>
                  </a:lnTo>
                  <a:lnTo>
                    <a:pt x="210761" y="581191"/>
                  </a:lnTo>
                  <a:lnTo>
                    <a:pt x="0" y="43675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0B688346-3BA2-383B-F464-A5A530EF9AA4}"/>
                </a:ext>
              </a:extLst>
            </p:cNvPr>
            <p:cNvGrpSpPr/>
            <p:nvPr/>
          </p:nvGrpSpPr>
          <p:grpSpPr>
            <a:xfrm>
              <a:off x="7493616" y="2424116"/>
              <a:ext cx="290664" cy="357184"/>
              <a:chOff x="1044576" y="406401"/>
              <a:chExt cx="319088" cy="392113"/>
            </a:xfrm>
            <a:solidFill>
              <a:schemeClr val="bg1"/>
            </a:solidFill>
          </p:grpSpPr>
          <p:sp>
            <p:nvSpPr>
              <p:cNvPr id="11" name="Freeform 32">
                <a:extLst>
                  <a:ext uri="{FF2B5EF4-FFF2-40B4-BE49-F238E27FC236}">
                    <a16:creationId xmlns:a16="http://schemas.microsoft.com/office/drawing/2014/main" id="{D74E76B8-F21A-902E-A0D0-7833B78F31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4576" y="636589"/>
                <a:ext cx="122238" cy="149225"/>
              </a:xfrm>
              <a:custGeom>
                <a:avLst/>
                <a:gdLst>
                  <a:gd name="T0" fmla="*/ 30 w 58"/>
                  <a:gd name="T1" fmla="*/ 72 h 72"/>
                  <a:gd name="T2" fmla="*/ 8 w 58"/>
                  <a:gd name="T3" fmla="*/ 63 h 72"/>
                  <a:gd name="T4" fmla="*/ 54 w 58"/>
                  <a:gd name="T5" fmla="*/ 0 h 72"/>
                  <a:gd name="T6" fmla="*/ 58 w 58"/>
                  <a:gd name="T7" fmla="*/ 5 h 72"/>
                  <a:gd name="T8" fmla="*/ 13 w 58"/>
                  <a:gd name="T9" fmla="*/ 60 h 72"/>
                  <a:gd name="T10" fmla="*/ 40 w 58"/>
                  <a:gd name="T11" fmla="*/ 65 h 72"/>
                  <a:gd name="T12" fmla="*/ 41 w 58"/>
                  <a:gd name="T13" fmla="*/ 71 h 72"/>
                  <a:gd name="T14" fmla="*/ 30 w 58"/>
                  <a:gd name="T15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72">
                    <a:moveTo>
                      <a:pt x="30" y="72"/>
                    </a:moveTo>
                    <a:cubicBezTo>
                      <a:pt x="19" y="72"/>
                      <a:pt x="12" y="69"/>
                      <a:pt x="8" y="63"/>
                    </a:cubicBezTo>
                    <a:cubicBezTo>
                      <a:pt x="0" y="48"/>
                      <a:pt x="19" y="21"/>
                      <a:pt x="54" y="0"/>
                    </a:cubicBezTo>
                    <a:cubicBezTo>
                      <a:pt x="58" y="5"/>
                      <a:pt x="58" y="5"/>
                      <a:pt x="58" y="5"/>
                    </a:cubicBezTo>
                    <a:cubicBezTo>
                      <a:pt x="23" y="26"/>
                      <a:pt x="8" y="50"/>
                      <a:pt x="13" y="60"/>
                    </a:cubicBezTo>
                    <a:cubicBezTo>
                      <a:pt x="17" y="65"/>
                      <a:pt x="26" y="67"/>
                      <a:pt x="40" y="65"/>
                    </a:cubicBezTo>
                    <a:cubicBezTo>
                      <a:pt x="41" y="71"/>
                      <a:pt x="41" y="71"/>
                      <a:pt x="41" y="71"/>
                    </a:cubicBezTo>
                    <a:cubicBezTo>
                      <a:pt x="37" y="72"/>
                      <a:pt x="33" y="72"/>
                      <a:pt x="30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2" name="Freeform 33">
                <a:extLst>
                  <a:ext uri="{FF2B5EF4-FFF2-40B4-BE49-F238E27FC236}">
                    <a16:creationId xmlns:a16="http://schemas.microsoft.com/office/drawing/2014/main" id="{0755546E-6CFB-1B6A-481F-31FDEE470F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0151" y="582614"/>
                <a:ext cx="157163" cy="176213"/>
              </a:xfrm>
              <a:custGeom>
                <a:avLst/>
                <a:gdLst>
                  <a:gd name="T0" fmla="*/ 3 w 75"/>
                  <a:gd name="T1" fmla="*/ 85 h 85"/>
                  <a:gd name="T2" fmla="*/ 0 w 75"/>
                  <a:gd name="T3" fmla="*/ 80 h 85"/>
                  <a:gd name="T4" fmla="*/ 15 w 75"/>
                  <a:gd name="T5" fmla="*/ 72 h 85"/>
                  <a:gd name="T6" fmla="*/ 48 w 75"/>
                  <a:gd name="T7" fmla="*/ 48 h 85"/>
                  <a:gd name="T8" fmla="*/ 64 w 75"/>
                  <a:gd name="T9" fmla="*/ 14 h 85"/>
                  <a:gd name="T10" fmla="*/ 33 w 75"/>
                  <a:gd name="T11" fmla="*/ 10 h 85"/>
                  <a:gd name="T12" fmla="*/ 31 w 75"/>
                  <a:gd name="T13" fmla="*/ 4 h 85"/>
                  <a:gd name="T14" fmla="*/ 69 w 75"/>
                  <a:gd name="T15" fmla="*/ 11 h 85"/>
                  <a:gd name="T16" fmla="*/ 52 w 75"/>
                  <a:gd name="T17" fmla="*/ 52 h 85"/>
                  <a:gd name="T18" fmla="*/ 18 w 75"/>
                  <a:gd name="T19" fmla="*/ 77 h 85"/>
                  <a:gd name="T20" fmla="*/ 3 w 75"/>
                  <a:gd name="T21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5" h="85">
                    <a:moveTo>
                      <a:pt x="3" y="85"/>
                    </a:moveTo>
                    <a:cubicBezTo>
                      <a:pt x="0" y="80"/>
                      <a:pt x="0" y="80"/>
                      <a:pt x="0" y="80"/>
                    </a:cubicBezTo>
                    <a:cubicBezTo>
                      <a:pt x="5" y="78"/>
                      <a:pt x="10" y="75"/>
                      <a:pt x="15" y="72"/>
                    </a:cubicBezTo>
                    <a:cubicBezTo>
                      <a:pt x="27" y="65"/>
                      <a:pt x="39" y="57"/>
                      <a:pt x="48" y="48"/>
                    </a:cubicBezTo>
                    <a:cubicBezTo>
                      <a:pt x="62" y="34"/>
                      <a:pt x="68" y="21"/>
                      <a:pt x="64" y="14"/>
                    </a:cubicBezTo>
                    <a:cubicBezTo>
                      <a:pt x="60" y="8"/>
                      <a:pt x="49" y="6"/>
                      <a:pt x="33" y="10"/>
                    </a:cubicBezTo>
                    <a:cubicBezTo>
                      <a:pt x="31" y="4"/>
                      <a:pt x="31" y="4"/>
                      <a:pt x="31" y="4"/>
                    </a:cubicBezTo>
                    <a:cubicBezTo>
                      <a:pt x="51" y="0"/>
                      <a:pt x="64" y="2"/>
                      <a:pt x="69" y="11"/>
                    </a:cubicBezTo>
                    <a:cubicBezTo>
                      <a:pt x="75" y="21"/>
                      <a:pt x="68" y="36"/>
                      <a:pt x="52" y="52"/>
                    </a:cubicBezTo>
                    <a:cubicBezTo>
                      <a:pt x="42" y="61"/>
                      <a:pt x="31" y="70"/>
                      <a:pt x="18" y="77"/>
                    </a:cubicBezTo>
                    <a:cubicBezTo>
                      <a:pt x="13" y="80"/>
                      <a:pt x="8" y="83"/>
                      <a:pt x="3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3" name="Freeform 34">
                <a:extLst>
                  <a:ext uri="{FF2B5EF4-FFF2-40B4-BE49-F238E27FC236}">
                    <a16:creationId xmlns:a16="http://schemas.microsoft.com/office/drawing/2014/main" id="{88CC704A-C153-2E4E-052B-2B61DCD2F4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926" y="612776"/>
                <a:ext cx="312738" cy="173038"/>
              </a:xfrm>
              <a:custGeom>
                <a:avLst/>
                <a:gdLst>
                  <a:gd name="T0" fmla="*/ 119 w 149"/>
                  <a:gd name="T1" fmla="*/ 83 h 83"/>
                  <a:gd name="T2" fmla="*/ 108 w 149"/>
                  <a:gd name="T3" fmla="*/ 82 h 83"/>
                  <a:gd name="T4" fmla="*/ 57 w 149"/>
                  <a:gd name="T5" fmla="*/ 62 h 83"/>
                  <a:gd name="T6" fmla="*/ 4 w 149"/>
                  <a:gd name="T7" fmla="*/ 0 h 83"/>
                  <a:gd name="T8" fmla="*/ 9 w 149"/>
                  <a:gd name="T9" fmla="*/ 1 h 83"/>
                  <a:gd name="T10" fmla="*/ 60 w 149"/>
                  <a:gd name="T11" fmla="*/ 57 h 83"/>
                  <a:gd name="T12" fmla="*/ 109 w 149"/>
                  <a:gd name="T13" fmla="*/ 76 h 83"/>
                  <a:gd name="T14" fmla="*/ 135 w 149"/>
                  <a:gd name="T15" fmla="*/ 71 h 83"/>
                  <a:gd name="T16" fmla="*/ 91 w 149"/>
                  <a:gd name="T17" fmla="*/ 16 h 83"/>
                  <a:gd name="T18" fmla="*/ 94 w 149"/>
                  <a:gd name="T19" fmla="*/ 11 h 83"/>
                  <a:gd name="T20" fmla="*/ 140 w 149"/>
                  <a:gd name="T21" fmla="*/ 74 h 83"/>
                  <a:gd name="T22" fmla="*/ 119 w 149"/>
                  <a:gd name="T2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9" h="83">
                    <a:moveTo>
                      <a:pt x="119" y="83"/>
                    </a:moveTo>
                    <a:cubicBezTo>
                      <a:pt x="115" y="83"/>
                      <a:pt x="112" y="83"/>
                      <a:pt x="108" y="82"/>
                    </a:cubicBezTo>
                    <a:cubicBezTo>
                      <a:pt x="93" y="80"/>
                      <a:pt x="74" y="73"/>
                      <a:pt x="57" y="62"/>
                    </a:cubicBezTo>
                    <a:cubicBezTo>
                      <a:pt x="22" y="43"/>
                      <a:pt x="0" y="16"/>
                      <a:pt x="4" y="0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7" y="13"/>
                      <a:pt x="25" y="37"/>
                      <a:pt x="60" y="57"/>
                    </a:cubicBezTo>
                    <a:cubicBezTo>
                      <a:pt x="77" y="67"/>
                      <a:pt x="94" y="74"/>
                      <a:pt x="109" y="76"/>
                    </a:cubicBezTo>
                    <a:cubicBezTo>
                      <a:pt x="122" y="78"/>
                      <a:pt x="132" y="76"/>
                      <a:pt x="135" y="71"/>
                    </a:cubicBezTo>
                    <a:cubicBezTo>
                      <a:pt x="141" y="61"/>
                      <a:pt x="125" y="37"/>
                      <a:pt x="91" y="16"/>
                    </a:cubicBezTo>
                    <a:cubicBezTo>
                      <a:pt x="94" y="11"/>
                      <a:pt x="94" y="11"/>
                      <a:pt x="94" y="11"/>
                    </a:cubicBezTo>
                    <a:cubicBezTo>
                      <a:pt x="129" y="32"/>
                      <a:pt x="149" y="59"/>
                      <a:pt x="140" y="74"/>
                    </a:cubicBezTo>
                    <a:cubicBezTo>
                      <a:pt x="137" y="80"/>
                      <a:pt x="129" y="83"/>
                      <a:pt x="119" y="8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4" name="Freeform 35">
                <a:extLst>
                  <a:ext uri="{FF2B5EF4-FFF2-40B4-BE49-F238E27FC236}">
                    <a16:creationId xmlns:a16="http://schemas.microsoft.com/office/drawing/2014/main" id="{5B4FF56E-219D-278C-FA23-E56A5794DB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50926" y="573089"/>
                <a:ext cx="50800" cy="52388"/>
              </a:xfrm>
              <a:custGeom>
                <a:avLst/>
                <a:gdLst>
                  <a:gd name="T0" fmla="*/ 12 w 24"/>
                  <a:gd name="T1" fmla="*/ 25 h 25"/>
                  <a:gd name="T2" fmla="*/ 0 w 24"/>
                  <a:gd name="T3" fmla="*/ 12 h 25"/>
                  <a:gd name="T4" fmla="*/ 12 w 24"/>
                  <a:gd name="T5" fmla="*/ 0 h 25"/>
                  <a:gd name="T6" fmla="*/ 24 w 24"/>
                  <a:gd name="T7" fmla="*/ 12 h 25"/>
                  <a:gd name="T8" fmla="*/ 12 w 24"/>
                  <a:gd name="T9" fmla="*/ 25 h 25"/>
                  <a:gd name="T10" fmla="*/ 12 w 24"/>
                  <a:gd name="T11" fmla="*/ 6 h 25"/>
                  <a:gd name="T12" fmla="*/ 6 w 24"/>
                  <a:gd name="T13" fmla="*/ 12 h 25"/>
                  <a:gd name="T14" fmla="*/ 12 w 24"/>
                  <a:gd name="T15" fmla="*/ 19 h 25"/>
                  <a:gd name="T16" fmla="*/ 18 w 24"/>
                  <a:gd name="T17" fmla="*/ 12 h 25"/>
                  <a:gd name="T18" fmla="*/ 12 w 24"/>
                  <a:gd name="T19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5">
                    <a:moveTo>
                      <a:pt x="12" y="25"/>
                    </a:moveTo>
                    <a:cubicBezTo>
                      <a:pt x="5" y="25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5"/>
                      <a:pt x="12" y="25"/>
                    </a:cubicBezTo>
                    <a:close/>
                    <a:moveTo>
                      <a:pt x="12" y="6"/>
                    </a:moveTo>
                    <a:cubicBezTo>
                      <a:pt x="8" y="6"/>
                      <a:pt x="6" y="9"/>
                      <a:pt x="6" y="12"/>
                    </a:cubicBezTo>
                    <a:cubicBezTo>
                      <a:pt x="6" y="16"/>
                      <a:pt x="8" y="19"/>
                      <a:pt x="12" y="19"/>
                    </a:cubicBezTo>
                    <a:cubicBezTo>
                      <a:pt x="16" y="19"/>
                      <a:pt x="18" y="16"/>
                      <a:pt x="18" y="12"/>
                    </a:cubicBezTo>
                    <a:cubicBezTo>
                      <a:pt x="18" y="9"/>
                      <a:pt x="16" y="6"/>
                      <a:pt x="1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5" name="Freeform 36">
                <a:extLst>
                  <a:ext uri="{FF2B5EF4-FFF2-40B4-BE49-F238E27FC236}">
                    <a16:creationId xmlns:a16="http://schemas.microsoft.com/office/drawing/2014/main" id="{756090D0-D6C4-CB5A-4580-4D065068A5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2363" y="749301"/>
                <a:ext cx="52388" cy="49213"/>
              </a:xfrm>
              <a:custGeom>
                <a:avLst/>
                <a:gdLst>
                  <a:gd name="T0" fmla="*/ 13 w 25"/>
                  <a:gd name="T1" fmla="*/ 24 h 24"/>
                  <a:gd name="T2" fmla="*/ 0 w 25"/>
                  <a:gd name="T3" fmla="*/ 12 h 24"/>
                  <a:gd name="T4" fmla="*/ 13 w 25"/>
                  <a:gd name="T5" fmla="*/ 0 h 24"/>
                  <a:gd name="T6" fmla="*/ 25 w 25"/>
                  <a:gd name="T7" fmla="*/ 12 h 24"/>
                  <a:gd name="T8" fmla="*/ 13 w 25"/>
                  <a:gd name="T9" fmla="*/ 24 h 24"/>
                  <a:gd name="T10" fmla="*/ 13 w 25"/>
                  <a:gd name="T11" fmla="*/ 6 h 24"/>
                  <a:gd name="T12" fmla="*/ 6 w 25"/>
                  <a:gd name="T13" fmla="*/ 12 h 24"/>
                  <a:gd name="T14" fmla="*/ 13 w 25"/>
                  <a:gd name="T15" fmla="*/ 18 h 24"/>
                  <a:gd name="T16" fmla="*/ 19 w 25"/>
                  <a:gd name="T17" fmla="*/ 12 h 24"/>
                  <a:gd name="T18" fmla="*/ 13 w 25"/>
                  <a:gd name="T19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24">
                    <a:moveTo>
                      <a:pt x="13" y="24"/>
                    </a:moveTo>
                    <a:cubicBezTo>
                      <a:pt x="6" y="24"/>
                      <a:pt x="0" y="19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19" y="0"/>
                      <a:pt x="25" y="5"/>
                      <a:pt x="25" y="12"/>
                    </a:cubicBezTo>
                    <a:cubicBezTo>
                      <a:pt x="25" y="19"/>
                      <a:pt x="19" y="24"/>
                      <a:pt x="13" y="24"/>
                    </a:cubicBezTo>
                    <a:close/>
                    <a:moveTo>
                      <a:pt x="13" y="6"/>
                    </a:moveTo>
                    <a:cubicBezTo>
                      <a:pt x="9" y="6"/>
                      <a:pt x="6" y="8"/>
                      <a:pt x="6" y="12"/>
                    </a:cubicBezTo>
                    <a:cubicBezTo>
                      <a:pt x="6" y="16"/>
                      <a:pt x="9" y="18"/>
                      <a:pt x="13" y="18"/>
                    </a:cubicBezTo>
                    <a:cubicBezTo>
                      <a:pt x="16" y="18"/>
                      <a:pt x="19" y="16"/>
                      <a:pt x="19" y="12"/>
                    </a:cubicBezTo>
                    <a:cubicBezTo>
                      <a:pt x="19" y="8"/>
                      <a:pt x="16" y="6"/>
                      <a:pt x="1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6" name="Rectangle 37">
                <a:extLst>
                  <a:ext uri="{FF2B5EF4-FFF2-40B4-BE49-F238E27FC236}">
                    <a16:creationId xmlns:a16="http://schemas.microsoft.com/office/drawing/2014/main" id="{8F69ACEF-C95F-002F-ED86-60355D6547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8251" y="652464"/>
                <a:ext cx="11113" cy="444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" name="Rectangle 38">
                <a:extLst>
                  <a:ext uri="{FF2B5EF4-FFF2-40B4-BE49-F238E27FC236}">
                    <a16:creationId xmlns:a16="http://schemas.microsoft.com/office/drawing/2014/main" id="{89DBC350-3963-6C8D-CB23-D273803FCB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5701" y="652464"/>
                <a:ext cx="12700" cy="444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8" name="Rectangle 39">
                <a:extLst>
                  <a:ext uri="{FF2B5EF4-FFF2-40B4-BE49-F238E27FC236}">
                    <a16:creationId xmlns:a16="http://schemas.microsoft.com/office/drawing/2014/main" id="{ECA6F2E0-82C2-8465-8FED-AFF8CB916B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9351" y="646114"/>
                <a:ext cx="109538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9" name="Rectangle 40">
                <a:extLst>
                  <a:ext uri="{FF2B5EF4-FFF2-40B4-BE49-F238E27FC236}">
                    <a16:creationId xmlns:a16="http://schemas.microsoft.com/office/drawing/2014/main" id="{CF4BCA70-2515-2BFF-B894-B1371E70D5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9351" y="668339"/>
                <a:ext cx="109538" cy="111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0" name="Rectangle 41">
                <a:extLst>
                  <a:ext uri="{FF2B5EF4-FFF2-40B4-BE49-F238E27FC236}">
                    <a16:creationId xmlns:a16="http://schemas.microsoft.com/office/drawing/2014/main" id="{1AF056B5-9070-C2B5-C4D3-4408DE0997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9351" y="690564"/>
                <a:ext cx="109538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1" name="Rectangle 42">
                <a:extLst>
                  <a:ext uri="{FF2B5EF4-FFF2-40B4-BE49-F238E27FC236}">
                    <a16:creationId xmlns:a16="http://schemas.microsoft.com/office/drawing/2014/main" id="{89A1F16B-A1A4-90A3-024B-7BC4528C0B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9513" y="711201"/>
                <a:ext cx="47625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2" name="Freeform 43">
                <a:extLst>
                  <a:ext uri="{FF2B5EF4-FFF2-40B4-BE49-F238E27FC236}">
                    <a16:creationId xmlns:a16="http://schemas.microsoft.com/office/drawing/2014/main" id="{8AC0E35A-253A-1168-B736-DECE7AEBCC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93788" y="406401"/>
                <a:ext cx="219075" cy="252413"/>
              </a:xfrm>
              <a:custGeom>
                <a:avLst/>
                <a:gdLst>
                  <a:gd name="T0" fmla="*/ 75 w 105"/>
                  <a:gd name="T1" fmla="*/ 121 h 121"/>
                  <a:gd name="T2" fmla="*/ 30 w 105"/>
                  <a:gd name="T3" fmla="*/ 121 h 121"/>
                  <a:gd name="T4" fmla="*/ 30 w 105"/>
                  <a:gd name="T5" fmla="*/ 118 h 121"/>
                  <a:gd name="T6" fmla="*/ 19 w 105"/>
                  <a:gd name="T7" fmla="*/ 92 h 121"/>
                  <a:gd name="T8" fmla="*/ 19 w 105"/>
                  <a:gd name="T9" fmla="*/ 91 h 121"/>
                  <a:gd name="T10" fmla="*/ 18 w 105"/>
                  <a:gd name="T11" fmla="*/ 91 h 121"/>
                  <a:gd name="T12" fmla="*/ 17 w 105"/>
                  <a:gd name="T13" fmla="*/ 90 h 121"/>
                  <a:gd name="T14" fmla="*/ 0 w 105"/>
                  <a:gd name="T15" fmla="*/ 52 h 121"/>
                  <a:gd name="T16" fmla="*/ 53 w 105"/>
                  <a:gd name="T17" fmla="*/ 0 h 121"/>
                  <a:gd name="T18" fmla="*/ 105 w 105"/>
                  <a:gd name="T19" fmla="*/ 52 h 121"/>
                  <a:gd name="T20" fmla="*/ 88 w 105"/>
                  <a:gd name="T21" fmla="*/ 90 h 121"/>
                  <a:gd name="T22" fmla="*/ 88 w 105"/>
                  <a:gd name="T23" fmla="*/ 91 h 121"/>
                  <a:gd name="T24" fmla="*/ 87 w 105"/>
                  <a:gd name="T25" fmla="*/ 91 h 121"/>
                  <a:gd name="T26" fmla="*/ 86 w 105"/>
                  <a:gd name="T27" fmla="*/ 92 h 121"/>
                  <a:gd name="T28" fmla="*/ 75 w 105"/>
                  <a:gd name="T29" fmla="*/ 118 h 121"/>
                  <a:gd name="T30" fmla="*/ 75 w 105"/>
                  <a:gd name="T31" fmla="*/ 121 h 121"/>
                  <a:gd name="T32" fmla="*/ 36 w 105"/>
                  <a:gd name="T33" fmla="*/ 115 h 121"/>
                  <a:gd name="T34" fmla="*/ 69 w 105"/>
                  <a:gd name="T35" fmla="*/ 115 h 121"/>
                  <a:gd name="T36" fmla="*/ 82 w 105"/>
                  <a:gd name="T37" fmla="*/ 87 h 121"/>
                  <a:gd name="T38" fmla="*/ 83 w 105"/>
                  <a:gd name="T39" fmla="*/ 87 h 121"/>
                  <a:gd name="T40" fmla="*/ 84 w 105"/>
                  <a:gd name="T41" fmla="*/ 86 h 121"/>
                  <a:gd name="T42" fmla="*/ 99 w 105"/>
                  <a:gd name="T43" fmla="*/ 52 h 121"/>
                  <a:gd name="T44" fmla="*/ 53 w 105"/>
                  <a:gd name="T45" fmla="*/ 6 h 121"/>
                  <a:gd name="T46" fmla="*/ 6 w 105"/>
                  <a:gd name="T47" fmla="*/ 52 h 121"/>
                  <a:gd name="T48" fmla="*/ 21 w 105"/>
                  <a:gd name="T49" fmla="*/ 86 h 121"/>
                  <a:gd name="T50" fmla="*/ 22 w 105"/>
                  <a:gd name="T51" fmla="*/ 87 h 121"/>
                  <a:gd name="T52" fmla="*/ 23 w 105"/>
                  <a:gd name="T53" fmla="*/ 87 h 121"/>
                  <a:gd name="T54" fmla="*/ 36 w 105"/>
                  <a:gd name="T55" fmla="*/ 115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5" h="121">
                    <a:moveTo>
                      <a:pt x="75" y="121"/>
                    </a:moveTo>
                    <a:cubicBezTo>
                      <a:pt x="30" y="121"/>
                      <a:pt x="30" y="121"/>
                      <a:pt x="30" y="121"/>
                    </a:cubicBezTo>
                    <a:cubicBezTo>
                      <a:pt x="30" y="118"/>
                      <a:pt x="30" y="118"/>
                      <a:pt x="30" y="118"/>
                    </a:cubicBezTo>
                    <a:cubicBezTo>
                      <a:pt x="30" y="108"/>
                      <a:pt x="26" y="98"/>
                      <a:pt x="19" y="92"/>
                    </a:cubicBezTo>
                    <a:cubicBezTo>
                      <a:pt x="19" y="91"/>
                      <a:pt x="19" y="91"/>
                      <a:pt x="19" y="91"/>
                    </a:cubicBezTo>
                    <a:cubicBezTo>
                      <a:pt x="18" y="91"/>
                      <a:pt x="18" y="91"/>
                      <a:pt x="18" y="91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7" y="81"/>
                      <a:pt x="0" y="67"/>
                      <a:pt x="0" y="52"/>
                    </a:cubicBezTo>
                    <a:cubicBezTo>
                      <a:pt x="0" y="23"/>
                      <a:pt x="24" y="0"/>
                      <a:pt x="53" y="0"/>
                    </a:cubicBezTo>
                    <a:cubicBezTo>
                      <a:pt x="81" y="0"/>
                      <a:pt x="105" y="23"/>
                      <a:pt x="105" y="52"/>
                    </a:cubicBezTo>
                    <a:cubicBezTo>
                      <a:pt x="105" y="67"/>
                      <a:pt x="99" y="81"/>
                      <a:pt x="88" y="90"/>
                    </a:cubicBezTo>
                    <a:cubicBezTo>
                      <a:pt x="88" y="91"/>
                      <a:pt x="88" y="91"/>
                      <a:pt x="88" y="91"/>
                    </a:cubicBezTo>
                    <a:cubicBezTo>
                      <a:pt x="87" y="91"/>
                      <a:pt x="87" y="91"/>
                      <a:pt x="87" y="91"/>
                    </a:cubicBezTo>
                    <a:cubicBezTo>
                      <a:pt x="86" y="92"/>
                      <a:pt x="86" y="92"/>
                      <a:pt x="86" y="92"/>
                    </a:cubicBezTo>
                    <a:cubicBezTo>
                      <a:pt x="79" y="98"/>
                      <a:pt x="75" y="108"/>
                      <a:pt x="75" y="118"/>
                    </a:cubicBezTo>
                    <a:lnTo>
                      <a:pt x="75" y="121"/>
                    </a:lnTo>
                    <a:close/>
                    <a:moveTo>
                      <a:pt x="36" y="115"/>
                    </a:moveTo>
                    <a:cubicBezTo>
                      <a:pt x="69" y="115"/>
                      <a:pt x="69" y="115"/>
                      <a:pt x="69" y="115"/>
                    </a:cubicBezTo>
                    <a:cubicBezTo>
                      <a:pt x="70" y="104"/>
                      <a:pt x="75" y="94"/>
                      <a:pt x="82" y="87"/>
                    </a:cubicBezTo>
                    <a:cubicBezTo>
                      <a:pt x="83" y="87"/>
                      <a:pt x="83" y="87"/>
                      <a:pt x="83" y="87"/>
                    </a:cubicBezTo>
                    <a:cubicBezTo>
                      <a:pt x="83" y="87"/>
                      <a:pt x="83" y="86"/>
                      <a:pt x="84" y="86"/>
                    </a:cubicBezTo>
                    <a:cubicBezTo>
                      <a:pt x="93" y="77"/>
                      <a:pt x="99" y="65"/>
                      <a:pt x="99" y="52"/>
                    </a:cubicBezTo>
                    <a:cubicBezTo>
                      <a:pt x="99" y="26"/>
                      <a:pt x="78" y="6"/>
                      <a:pt x="53" y="6"/>
                    </a:cubicBezTo>
                    <a:cubicBezTo>
                      <a:pt x="27" y="6"/>
                      <a:pt x="6" y="26"/>
                      <a:pt x="6" y="52"/>
                    </a:cubicBezTo>
                    <a:cubicBezTo>
                      <a:pt x="6" y="65"/>
                      <a:pt x="12" y="77"/>
                      <a:pt x="21" y="86"/>
                    </a:cubicBezTo>
                    <a:cubicBezTo>
                      <a:pt x="22" y="86"/>
                      <a:pt x="22" y="87"/>
                      <a:pt x="22" y="87"/>
                    </a:cubicBezTo>
                    <a:cubicBezTo>
                      <a:pt x="23" y="87"/>
                      <a:pt x="23" y="87"/>
                      <a:pt x="23" y="87"/>
                    </a:cubicBezTo>
                    <a:cubicBezTo>
                      <a:pt x="31" y="95"/>
                      <a:pt x="35" y="104"/>
                      <a:pt x="36" y="1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3" name="Freeform 44">
                <a:extLst>
                  <a:ext uri="{FF2B5EF4-FFF2-40B4-BE49-F238E27FC236}">
                    <a16:creationId xmlns:a16="http://schemas.microsoft.com/office/drawing/2014/main" id="{84229089-C8CE-5309-309B-C804A14C8F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6338" y="457201"/>
                <a:ext cx="52388" cy="115888"/>
              </a:xfrm>
              <a:custGeom>
                <a:avLst/>
                <a:gdLst>
                  <a:gd name="T0" fmla="*/ 20 w 33"/>
                  <a:gd name="T1" fmla="*/ 73 h 73"/>
                  <a:gd name="T2" fmla="*/ 14 w 33"/>
                  <a:gd name="T3" fmla="*/ 71 h 73"/>
                  <a:gd name="T4" fmla="*/ 23 w 33"/>
                  <a:gd name="T5" fmla="*/ 41 h 73"/>
                  <a:gd name="T6" fmla="*/ 0 w 33"/>
                  <a:gd name="T7" fmla="*/ 41 h 73"/>
                  <a:gd name="T8" fmla="*/ 14 w 33"/>
                  <a:gd name="T9" fmla="*/ 0 h 73"/>
                  <a:gd name="T10" fmla="*/ 20 w 33"/>
                  <a:gd name="T11" fmla="*/ 3 h 73"/>
                  <a:gd name="T12" fmla="*/ 11 w 33"/>
                  <a:gd name="T13" fmla="*/ 33 h 73"/>
                  <a:gd name="T14" fmla="*/ 33 w 33"/>
                  <a:gd name="T15" fmla="*/ 33 h 73"/>
                  <a:gd name="T16" fmla="*/ 20 w 33"/>
                  <a:gd name="T17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73">
                    <a:moveTo>
                      <a:pt x="20" y="73"/>
                    </a:moveTo>
                    <a:lnTo>
                      <a:pt x="14" y="71"/>
                    </a:lnTo>
                    <a:lnTo>
                      <a:pt x="23" y="41"/>
                    </a:lnTo>
                    <a:lnTo>
                      <a:pt x="0" y="41"/>
                    </a:lnTo>
                    <a:lnTo>
                      <a:pt x="14" y="0"/>
                    </a:lnTo>
                    <a:lnTo>
                      <a:pt x="20" y="3"/>
                    </a:lnTo>
                    <a:lnTo>
                      <a:pt x="11" y="33"/>
                    </a:lnTo>
                    <a:lnTo>
                      <a:pt x="33" y="33"/>
                    </a:lnTo>
                    <a:lnTo>
                      <a:pt x="20" y="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1C51EB85-BBE0-443A-2CEC-C6BF014C45C2}"/>
              </a:ext>
            </a:extLst>
          </p:cNvPr>
          <p:cNvSpPr/>
          <p:nvPr/>
        </p:nvSpPr>
        <p:spPr>
          <a:xfrm>
            <a:off x="4278460" y="2272029"/>
            <a:ext cx="3634513" cy="37746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sng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285750" indent="-171450">
              <a:spcBef>
                <a:spcPct val="200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en-US" sz="1200" kern="0">
                <a:solidFill>
                  <a:schemeClr val="tx1"/>
                </a:solidFill>
              </a:rPr>
              <a:t>Gen AI based solution to assist developers in automating the time-consuming and laborious portions of coding</a:t>
            </a:r>
            <a:endParaRPr lang="en-US" sz="1200" kern="0">
              <a:solidFill>
                <a:schemeClr val="tx1"/>
              </a:solidFill>
              <a:cs typeface="Arial"/>
            </a:endParaRPr>
          </a:p>
          <a:p>
            <a:pPr indent="-171450">
              <a:spcBef>
                <a:spcPct val="200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/>
            </a:pPr>
            <a:endParaRPr lang="en-US" sz="1200" kern="0">
              <a:solidFill>
                <a:schemeClr val="tx1"/>
              </a:solidFill>
            </a:endParaRPr>
          </a:p>
          <a:p>
            <a:pPr marL="285750" indent="-171450">
              <a:spcBef>
                <a:spcPct val="200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en-US" sz="1200" kern="0">
                <a:solidFill>
                  <a:schemeClr val="tx1"/>
                </a:solidFill>
              </a:rPr>
              <a:t>Utilizing the model's ability to generate code snippets and suggestions to assist developers in writing or completing their code</a:t>
            </a:r>
          </a:p>
          <a:p>
            <a:pPr indent="-171450">
              <a:spcBef>
                <a:spcPct val="200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/>
            </a:pPr>
            <a:endParaRPr lang="en-US" sz="1200" kern="0">
              <a:solidFill>
                <a:schemeClr val="tx1"/>
              </a:solidFill>
            </a:endParaRPr>
          </a:p>
          <a:p>
            <a:pPr marL="285750" indent="-171450">
              <a:spcBef>
                <a:spcPct val="200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en-US" sz="1200" kern="0">
                <a:solidFill>
                  <a:schemeClr val="tx1"/>
                </a:solidFill>
              </a:rPr>
              <a:t>Generative AI can explain code by analyzing the code's structure, syntax, and functionality, and generating human-readable explana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7EBDA72-FCA8-4117-092D-BB4618D33A2E}"/>
              </a:ext>
            </a:extLst>
          </p:cNvPr>
          <p:cNvSpPr/>
          <p:nvPr/>
        </p:nvSpPr>
        <p:spPr>
          <a:xfrm>
            <a:off x="4278460" y="1815151"/>
            <a:ext cx="3634513" cy="45025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lution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5D43F8C-A10D-3672-CB70-8ED85B4E434F}"/>
              </a:ext>
            </a:extLst>
          </p:cNvPr>
          <p:cNvGrpSpPr/>
          <p:nvPr/>
        </p:nvGrpSpPr>
        <p:grpSpPr>
          <a:xfrm>
            <a:off x="4475738" y="1538523"/>
            <a:ext cx="421720" cy="582769"/>
            <a:chOff x="7422435" y="269099"/>
            <a:chExt cx="421720" cy="582769"/>
          </a:xfrm>
        </p:grpSpPr>
        <p:sp>
          <p:nvSpPr>
            <p:cNvPr id="27" name="Graphic 2">
              <a:extLst>
                <a:ext uri="{FF2B5EF4-FFF2-40B4-BE49-F238E27FC236}">
                  <a16:creationId xmlns:a16="http://schemas.microsoft.com/office/drawing/2014/main" id="{38B86BF2-D527-6591-DFDD-48560D0F2A14}"/>
                </a:ext>
              </a:extLst>
            </p:cNvPr>
            <p:cNvSpPr/>
            <p:nvPr/>
          </p:nvSpPr>
          <p:spPr>
            <a:xfrm flipH="1">
              <a:off x="7422435" y="269099"/>
              <a:ext cx="421720" cy="582769"/>
            </a:xfrm>
            <a:custGeom>
              <a:avLst/>
              <a:gdLst>
                <a:gd name="connsiteX0" fmla="*/ 0 w 420541"/>
                <a:gd name="connsiteY0" fmla="*/ 147870 h 581136"/>
                <a:gd name="connsiteX1" fmla="*/ 212489 w 420541"/>
                <a:gd name="connsiteY1" fmla="*/ 0 h 581136"/>
                <a:gd name="connsiteX2" fmla="*/ 421521 w 420541"/>
                <a:gd name="connsiteY2" fmla="*/ 147870 h 581136"/>
                <a:gd name="connsiteX3" fmla="*/ 421521 w 420541"/>
                <a:gd name="connsiteY3" fmla="*/ 438465 h 581136"/>
                <a:gd name="connsiteX4" fmla="*/ 210761 w 420541"/>
                <a:gd name="connsiteY4" fmla="*/ 581191 h 581136"/>
                <a:gd name="connsiteX5" fmla="*/ 0 w 420541"/>
                <a:gd name="connsiteY5" fmla="*/ 436750 h 581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0541" h="581136">
                  <a:moveTo>
                    <a:pt x="0" y="147870"/>
                  </a:moveTo>
                  <a:lnTo>
                    <a:pt x="212489" y="0"/>
                  </a:lnTo>
                  <a:lnTo>
                    <a:pt x="421521" y="147870"/>
                  </a:lnTo>
                  <a:lnTo>
                    <a:pt x="421521" y="438465"/>
                  </a:lnTo>
                  <a:lnTo>
                    <a:pt x="210761" y="581191"/>
                  </a:lnTo>
                  <a:lnTo>
                    <a:pt x="0" y="436750"/>
                  </a:lnTo>
                  <a:close/>
                </a:path>
              </a:pathLst>
            </a:custGeom>
            <a:solidFill>
              <a:schemeClr val="tx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01A3C052-2C9B-5331-8155-AACDB75BB0C9}"/>
                </a:ext>
              </a:extLst>
            </p:cNvPr>
            <p:cNvGrpSpPr/>
            <p:nvPr/>
          </p:nvGrpSpPr>
          <p:grpSpPr>
            <a:xfrm>
              <a:off x="7506811" y="413773"/>
              <a:ext cx="250955" cy="274409"/>
              <a:chOff x="2786063" y="2171701"/>
              <a:chExt cx="339725" cy="371476"/>
            </a:xfrm>
            <a:solidFill>
              <a:schemeClr val="bg1"/>
            </a:solidFill>
          </p:grpSpPr>
          <p:sp>
            <p:nvSpPr>
              <p:cNvPr id="29" name="Freeform 464">
                <a:extLst>
                  <a:ext uri="{FF2B5EF4-FFF2-40B4-BE49-F238E27FC236}">
                    <a16:creationId xmlns:a16="http://schemas.microsoft.com/office/drawing/2014/main" id="{07245812-C32D-8953-CC64-0E225FC343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33688" y="2220914"/>
                <a:ext cx="244475" cy="242888"/>
              </a:xfrm>
              <a:custGeom>
                <a:avLst/>
                <a:gdLst>
                  <a:gd name="T0" fmla="*/ 59 w 117"/>
                  <a:gd name="T1" fmla="*/ 117 h 117"/>
                  <a:gd name="T2" fmla="*/ 0 w 117"/>
                  <a:gd name="T3" fmla="*/ 58 h 117"/>
                  <a:gd name="T4" fmla="*/ 59 w 117"/>
                  <a:gd name="T5" fmla="*/ 0 h 117"/>
                  <a:gd name="T6" fmla="*/ 117 w 117"/>
                  <a:gd name="T7" fmla="*/ 58 h 117"/>
                  <a:gd name="T8" fmla="*/ 59 w 117"/>
                  <a:gd name="T9" fmla="*/ 117 h 117"/>
                  <a:gd name="T10" fmla="*/ 59 w 117"/>
                  <a:gd name="T11" fmla="*/ 6 h 117"/>
                  <a:gd name="T12" fmla="*/ 6 w 117"/>
                  <a:gd name="T13" fmla="*/ 58 h 117"/>
                  <a:gd name="T14" fmla="*/ 59 w 117"/>
                  <a:gd name="T15" fmla="*/ 111 h 117"/>
                  <a:gd name="T16" fmla="*/ 111 w 117"/>
                  <a:gd name="T17" fmla="*/ 58 h 117"/>
                  <a:gd name="T18" fmla="*/ 59 w 117"/>
                  <a:gd name="T19" fmla="*/ 6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7" h="117">
                    <a:moveTo>
                      <a:pt x="59" y="117"/>
                    </a:moveTo>
                    <a:cubicBezTo>
                      <a:pt x="26" y="117"/>
                      <a:pt x="0" y="91"/>
                      <a:pt x="0" y="58"/>
                    </a:cubicBezTo>
                    <a:cubicBezTo>
                      <a:pt x="0" y="26"/>
                      <a:pt x="26" y="0"/>
                      <a:pt x="59" y="0"/>
                    </a:cubicBezTo>
                    <a:cubicBezTo>
                      <a:pt x="91" y="0"/>
                      <a:pt x="117" y="26"/>
                      <a:pt x="117" y="58"/>
                    </a:cubicBezTo>
                    <a:cubicBezTo>
                      <a:pt x="117" y="91"/>
                      <a:pt x="91" y="117"/>
                      <a:pt x="59" y="117"/>
                    </a:cubicBezTo>
                    <a:close/>
                    <a:moveTo>
                      <a:pt x="59" y="6"/>
                    </a:moveTo>
                    <a:cubicBezTo>
                      <a:pt x="30" y="6"/>
                      <a:pt x="6" y="30"/>
                      <a:pt x="6" y="58"/>
                    </a:cubicBezTo>
                    <a:cubicBezTo>
                      <a:pt x="6" y="87"/>
                      <a:pt x="30" y="111"/>
                      <a:pt x="59" y="111"/>
                    </a:cubicBezTo>
                    <a:cubicBezTo>
                      <a:pt x="88" y="111"/>
                      <a:pt x="111" y="87"/>
                      <a:pt x="111" y="58"/>
                    </a:cubicBezTo>
                    <a:cubicBezTo>
                      <a:pt x="111" y="30"/>
                      <a:pt x="88" y="6"/>
                      <a:pt x="59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0" name="Freeform 465">
                <a:extLst>
                  <a:ext uri="{FF2B5EF4-FFF2-40B4-BE49-F238E27FC236}">
                    <a16:creationId xmlns:a16="http://schemas.microsoft.com/office/drawing/2014/main" id="{843150F2-9648-C7C9-DF69-7D83A059C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6063" y="2171701"/>
                <a:ext cx="339725" cy="339725"/>
              </a:xfrm>
              <a:custGeom>
                <a:avLst/>
                <a:gdLst>
                  <a:gd name="T0" fmla="*/ 82 w 163"/>
                  <a:gd name="T1" fmla="*/ 163 h 163"/>
                  <a:gd name="T2" fmla="*/ 0 w 163"/>
                  <a:gd name="T3" fmla="*/ 81 h 163"/>
                  <a:gd name="T4" fmla="*/ 82 w 163"/>
                  <a:gd name="T5" fmla="*/ 0 h 163"/>
                  <a:gd name="T6" fmla="*/ 163 w 163"/>
                  <a:gd name="T7" fmla="*/ 81 h 163"/>
                  <a:gd name="T8" fmla="*/ 82 w 163"/>
                  <a:gd name="T9" fmla="*/ 163 h 163"/>
                  <a:gd name="T10" fmla="*/ 82 w 163"/>
                  <a:gd name="T11" fmla="*/ 6 h 163"/>
                  <a:gd name="T12" fmla="*/ 6 w 163"/>
                  <a:gd name="T13" fmla="*/ 81 h 163"/>
                  <a:gd name="T14" fmla="*/ 82 w 163"/>
                  <a:gd name="T15" fmla="*/ 157 h 163"/>
                  <a:gd name="T16" fmla="*/ 157 w 163"/>
                  <a:gd name="T17" fmla="*/ 81 h 163"/>
                  <a:gd name="T18" fmla="*/ 82 w 163"/>
                  <a:gd name="T19" fmla="*/ 6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3" h="163">
                    <a:moveTo>
                      <a:pt x="82" y="163"/>
                    </a:moveTo>
                    <a:cubicBezTo>
                      <a:pt x="37" y="163"/>
                      <a:pt x="0" y="126"/>
                      <a:pt x="0" y="81"/>
                    </a:cubicBezTo>
                    <a:cubicBezTo>
                      <a:pt x="0" y="37"/>
                      <a:pt x="37" y="0"/>
                      <a:pt x="82" y="0"/>
                    </a:cubicBezTo>
                    <a:cubicBezTo>
                      <a:pt x="126" y="0"/>
                      <a:pt x="163" y="37"/>
                      <a:pt x="163" y="81"/>
                    </a:cubicBezTo>
                    <a:cubicBezTo>
                      <a:pt x="163" y="126"/>
                      <a:pt x="126" y="163"/>
                      <a:pt x="82" y="163"/>
                    </a:cubicBezTo>
                    <a:close/>
                    <a:moveTo>
                      <a:pt x="82" y="6"/>
                    </a:moveTo>
                    <a:cubicBezTo>
                      <a:pt x="40" y="6"/>
                      <a:pt x="6" y="40"/>
                      <a:pt x="6" y="81"/>
                    </a:cubicBezTo>
                    <a:cubicBezTo>
                      <a:pt x="6" y="123"/>
                      <a:pt x="40" y="157"/>
                      <a:pt x="82" y="157"/>
                    </a:cubicBezTo>
                    <a:cubicBezTo>
                      <a:pt x="123" y="157"/>
                      <a:pt x="157" y="123"/>
                      <a:pt x="157" y="81"/>
                    </a:cubicBezTo>
                    <a:cubicBezTo>
                      <a:pt x="157" y="40"/>
                      <a:pt x="123" y="6"/>
                      <a:pt x="8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1" name="Freeform 466">
                <a:extLst>
                  <a:ext uri="{FF2B5EF4-FFF2-40B4-BE49-F238E27FC236}">
                    <a16:creationId xmlns:a16="http://schemas.microsoft.com/office/drawing/2014/main" id="{FD4E92C6-303B-A558-F4F6-23F0D873D8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22588" y="2308226"/>
                <a:ext cx="68263" cy="66675"/>
              </a:xfrm>
              <a:custGeom>
                <a:avLst/>
                <a:gdLst>
                  <a:gd name="T0" fmla="*/ 16 w 32"/>
                  <a:gd name="T1" fmla="*/ 32 h 32"/>
                  <a:gd name="T2" fmla="*/ 0 w 32"/>
                  <a:gd name="T3" fmla="*/ 16 h 32"/>
                  <a:gd name="T4" fmla="*/ 16 w 32"/>
                  <a:gd name="T5" fmla="*/ 0 h 32"/>
                  <a:gd name="T6" fmla="*/ 32 w 32"/>
                  <a:gd name="T7" fmla="*/ 16 h 32"/>
                  <a:gd name="T8" fmla="*/ 16 w 32"/>
                  <a:gd name="T9" fmla="*/ 32 h 32"/>
                  <a:gd name="T10" fmla="*/ 16 w 32"/>
                  <a:gd name="T11" fmla="*/ 6 h 32"/>
                  <a:gd name="T12" fmla="*/ 6 w 32"/>
                  <a:gd name="T13" fmla="*/ 16 h 32"/>
                  <a:gd name="T14" fmla="*/ 16 w 32"/>
                  <a:gd name="T15" fmla="*/ 27 h 32"/>
                  <a:gd name="T16" fmla="*/ 26 w 32"/>
                  <a:gd name="T17" fmla="*/ 16 h 32"/>
                  <a:gd name="T18" fmla="*/ 16 w 32"/>
                  <a:gd name="T19" fmla="*/ 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32">
                    <a:moveTo>
                      <a:pt x="16" y="32"/>
                    </a:moveTo>
                    <a:cubicBezTo>
                      <a:pt x="7" y="32"/>
                      <a:pt x="0" y="25"/>
                      <a:pt x="0" y="16"/>
                    </a:cubicBezTo>
                    <a:cubicBezTo>
                      <a:pt x="0" y="8"/>
                      <a:pt x="7" y="0"/>
                      <a:pt x="16" y="0"/>
                    </a:cubicBezTo>
                    <a:cubicBezTo>
                      <a:pt x="24" y="0"/>
                      <a:pt x="32" y="8"/>
                      <a:pt x="32" y="16"/>
                    </a:cubicBezTo>
                    <a:cubicBezTo>
                      <a:pt x="32" y="25"/>
                      <a:pt x="24" y="32"/>
                      <a:pt x="16" y="32"/>
                    </a:cubicBezTo>
                    <a:close/>
                    <a:moveTo>
                      <a:pt x="16" y="6"/>
                    </a:moveTo>
                    <a:cubicBezTo>
                      <a:pt x="10" y="6"/>
                      <a:pt x="6" y="11"/>
                      <a:pt x="6" y="16"/>
                    </a:cubicBezTo>
                    <a:cubicBezTo>
                      <a:pt x="6" y="22"/>
                      <a:pt x="10" y="27"/>
                      <a:pt x="16" y="27"/>
                    </a:cubicBezTo>
                    <a:cubicBezTo>
                      <a:pt x="21" y="27"/>
                      <a:pt x="26" y="22"/>
                      <a:pt x="26" y="16"/>
                    </a:cubicBezTo>
                    <a:cubicBezTo>
                      <a:pt x="26" y="11"/>
                      <a:pt x="21" y="6"/>
                      <a:pt x="16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2" name="Rectangle 467">
                <a:extLst>
                  <a:ext uri="{FF2B5EF4-FFF2-40B4-BE49-F238E27FC236}">
                    <a16:creationId xmlns:a16="http://schemas.microsoft.com/office/drawing/2014/main" id="{60225CB7-3538-EC45-6157-A45428C97A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1163" y="2265364"/>
                <a:ext cx="12700" cy="174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3" name="Freeform 468">
                <a:extLst>
                  <a:ext uri="{FF2B5EF4-FFF2-40B4-BE49-F238E27FC236}">
                    <a16:creationId xmlns:a16="http://schemas.microsoft.com/office/drawing/2014/main" id="{D21A04AC-4560-0EF7-C714-D8C2EDB2A0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1001" y="2270126"/>
                <a:ext cx="17463" cy="19050"/>
              </a:xfrm>
              <a:custGeom>
                <a:avLst/>
                <a:gdLst>
                  <a:gd name="T0" fmla="*/ 4 w 11"/>
                  <a:gd name="T1" fmla="*/ 12 h 12"/>
                  <a:gd name="T2" fmla="*/ 0 w 11"/>
                  <a:gd name="T3" fmla="*/ 3 h 12"/>
                  <a:gd name="T4" fmla="*/ 7 w 11"/>
                  <a:gd name="T5" fmla="*/ 0 h 12"/>
                  <a:gd name="T6" fmla="*/ 11 w 11"/>
                  <a:gd name="T7" fmla="*/ 9 h 12"/>
                  <a:gd name="T8" fmla="*/ 4 w 11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2">
                    <a:moveTo>
                      <a:pt x="4" y="12"/>
                    </a:moveTo>
                    <a:lnTo>
                      <a:pt x="0" y="3"/>
                    </a:lnTo>
                    <a:lnTo>
                      <a:pt x="7" y="0"/>
                    </a:lnTo>
                    <a:lnTo>
                      <a:pt x="11" y="9"/>
                    </a:lnTo>
                    <a:lnTo>
                      <a:pt x="4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4" name="Freeform 469">
                <a:extLst>
                  <a:ext uri="{FF2B5EF4-FFF2-40B4-BE49-F238E27FC236}">
                    <a16:creationId xmlns:a16="http://schemas.microsoft.com/office/drawing/2014/main" id="{D23A27F6-6A8D-16DC-6882-DF2FF75C65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8776" y="2284414"/>
                <a:ext cx="19050" cy="19050"/>
              </a:xfrm>
              <a:custGeom>
                <a:avLst/>
                <a:gdLst>
                  <a:gd name="T0" fmla="*/ 6 w 12"/>
                  <a:gd name="T1" fmla="*/ 12 h 12"/>
                  <a:gd name="T2" fmla="*/ 0 w 12"/>
                  <a:gd name="T3" fmla="*/ 5 h 12"/>
                  <a:gd name="T4" fmla="*/ 5 w 12"/>
                  <a:gd name="T5" fmla="*/ 0 h 12"/>
                  <a:gd name="T6" fmla="*/ 12 w 12"/>
                  <a:gd name="T7" fmla="*/ 7 h 12"/>
                  <a:gd name="T8" fmla="*/ 6 w 12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6" y="12"/>
                    </a:moveTo>
                    <a:lnTo>
                      <a:pt x="0" y="5"/>
                    </a:lnTo>
                    <a:lnTo>
                      <a:pt x="5" y="0"/>
                    </a:lnTo>
                    <a:lnTo>
                      <a:pt x="12" y="7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5" name="Freeform 470">
                <a:extLst>
                  <a:ext uri="{FF2B5EF4-FFF2-40B4-BE49-F238E27FC236}">
                    <a16:creationId xmlns:a16="http://schemas.microsoft.com/office/drawing/2014/main" id="{53043076-2BEF-4F91-F7B6-3957D6DEE2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2901" y="2308226"/>
                <a:ext cx="19050" cy="15875"/>
              </a:xfrm>
              <a:custGeom>
                <a:avLst/>
                <a:gdLst>
                  <a:gd name="T0" fmla="*/ 10 w 12"/>
                  <a:gd name="T1" fmla="*/ 10 h 10"/>
                  <a:gd name="T2" fmla="*/ 0 w 12"/>
                  <a:gd name="T3" fmla="*/ 6 h 10"/>
                  <a:gd name="T4" fmla="*/ 3 w 12"/>
                  <a:gd name="T5" fmla="*/ 0 h 10"/>
                  <a:gd name="T6" fmla="*/ 12 w 12"/>
                  <a:gd name="T7" fmla="*/ 4 h 10"/>
                  <a:gd name="T8" fmla="*/ 10 w 12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0">
                    <a:moveTo>
                      <a:pt x="10" y="10"/>
                    </a:moveTo>
                    <a:lnTo>
                      <a:pt x="0" y="6"/>
                    </a:lnTo>
                    <a:lnTo>
                      <a:pt x="3" y="0"/>
                    </a:lnTo>
                    <a:lnTo>
                      <a:pt x="12" y="4"/>
                    </a:lnTo>
                    <a:lnTo>
                      <a:pt x="1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6" name="Rectangle 471">
                <a:extLst>
                  <a:ext uri="{FF2B5EF4-FFF2-40B4-BE49-F238E27FC236}">
                    <a16:creationId xmlns:a16="http://schemas.microsoft.com/office/drawing/2014/main" id="{2E072A3E-6565-76EC-D69E-8DCE89C7C6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79726" y="2336801"/>
                <a:ext cx="15875" cy="111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7" name="Freeform 472">
                <a:extLst>
                  <a:ext uri="{FF2B5EF4-FFF2-40B4-BE49-F238E27FC236}">
                    <a16:creationId xmlns:a16="http://schemas.microsoft.com/office/drawing/2014/main" id="{8787EE37-8680-EF85-676F-02D8B95BF9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2901" y="2359026"/>
                <a:ext cx="19050" cy="17463"/>
              </a:xfrm>
              <a:custGeom>
                <a:avLst/>
                <a:gdLst>
                  <a:gd name="T0" fmla="*/ 3 w 12"/>
                  <a:gd name="T1" fmla="*/ 11 h 11"/>
                  <a:gd name="T2" fmla="*/ 0 w 12"/>
                  <a:gd name="T3" fmla="*/ 4 h 11"/>
                  <a:gd name="T4" fmla="*/ 10 w 12"/>
                  <a:gd name="T5" fmla="*/ 0 h 11"/>
                  <a:gd name="T6" fmla="*/ 12 w 12"/>
                  <a:gd name="T7" fmla="*/ 7 h 11"/>
                  <a:gd name="T8" fmla="*/ 3 w 12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1">
                    <a:moveTo>
                      <a:pt x="3" y="11"/>
                    </a:moveTo>
                    <a:lnTo>
                      <a:pt x="0" y="4"/>
                    </a:lnTo>
                    <a:lnTo>
                      <a:pt x="10" y="0"/>
                    </a:lnTo>
                    <a:lnTo>
                      <a:pt x="12" y="7"/>
                    </a:lnTo>
                    <a:lnTo>
                      <a:pt x="3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8" name="Freeform 473">
                <a:extLst>
                  <a:ext uri="{FF2B5EF4-FFF2-40B4-BE49-F238E27FC236}">
                    <a16:creationId xmlns:a16="http://schemas.microsoft.com/office/drawing/2014/main" id="{70912632-0874-8F5F-98FE-7C3F5A3D1B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8776" y="2381251"/>
                <a:ext cx="19050" cy="17463"/>
              </a:xfrm>
              <a:custGeom>
                <a:avLst/>
                <a:gdLst>
                  <a:gd name="T0" fmla="*/ 5 w 12"/>
                  <a:gd name="T1" fmla="*/ 11 h 11"/>
                  <a:gd name="T2" fmla="*/ 0 w 12"/>
                  <a:gd name="T3" fmla="*/ 6 h 11"/>
                  <a:gd name="T4" fmla="*/ 6 w 12"/>
                  <a:gd name="T5" fmla="*/ 0 h 11"/>
                  <a:gd name="T6" fmla="*/ 12 w 12"/>
                  <a:gd name="T7" fmla="*/ 5 h 11"/>
                  <a:gd name="T8" fmla="*/ 5 w 12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1">
                    <a:moveTo>
                      <a:pt x="5" y="11"/>
                    </a:moveTo>
                    <a:lnTo>
                      <a:pt x="0" y="6"/>
                    </a:lnTo>
                    <a:lnTo>
                      <a:pt x="6" y="0"/>
                    </a:lnTo>
                    <a:lnTo>
                      <a:pt x="12" y="5"/>
                    </a:lnTo>
                    <a:lnTo>
                      <a:pt x="5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9" name="Freeform 474">
                <a:extLst>
                  <a:ext uri="{FF2B5EF4-FFF2-40B4-BE49-F238E27FC236}">
                    <a16:creationId xmlns:a16="http://schemas.microsoft.com/office/drawing/2014/main" id="{30BC49F2-EB1A-946B-62A2-83391DFEA2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1001" y="2395539"/>
                <a:ext cx="17463" cy="19050"/>
              </a:xfrm>
              <a:custGeom>
                <a:avLst/>
                <a:gdLst>
                  <a:gd name="T0" fmla="*/ 7 w 11"/>
                  <a:gd name="T1" fmla="*/ 12 h 12"/>
                  <a:gd name="T2" fmla="*/ 0 w 11"/>
                  <a:gd name="T3" fmla="*/ 9 h 12"/>
                  <a:gd name="T4" fmla="*/ 4 w 11"/>
                  <a:gd name="T5" fmla="*/ 0 h 12"/>
                  <a:gd name="T6" fmla="*/ 11 w 11"/>
                  <a:gd name="T7" fmla="*/ 2 h 12"/>
                  <a:gd name="T8" fmla="*/ 7 w 11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2">
                    <a:moveTo>
                      <a:pt x="7" y="12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11" y="2"/>
                    </a:lnTo>
                    <a:lnTo>
                      <a:pt x="7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40" name="Rectangle 475">
                <a:extLst>
                  <a:ext uri="{FF2B5EF4-FFF2-40B4-BE49-F238E27FC236}">
                    <a16:creationId xmlns:a16="http://schemas.microsoft.com/office/drawing/2014/main" id="{608A2BC6-5ACE-E908-7205-E80191907F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1163" y="2401889"/>
                <a:ext cx="12700" cy="158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41" name="Freeform 476">
                <a:extLst>
                  <a:ext uri="{FF2B5EF4-FFF2-40B4-BE49-F238E27FC236}">
                    <a16:creationId xmlns:a16="http://schemas.microsoft.com/office/drawing/2014/main" id="{D83A4880-1A3B-1189-BA69-AAFCCDC1C7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3388" y="2395539"/>
                <a:ext cx="17463" cy="19050"/>
              </a:xfrm>
              <a:custGeom>
                <a:avLst/>
                <a:gdLst>
                  <a:gd name="T0" fmla="*/ 4 w 11"/>
                  <a:gd name="T1" fmla="*/ 12 h 12"/>
                  <a:gd name="T2" fmla="*/ 0 w 11"/>
                  <a:gd name="T3" fmla="*/ 2 h 12"/>
                  <a:gd name="T4" fmla="*/ 7 w 11"/>
                  <a:gd name="T5" fmla="*/ 0 h 12"/>
                  <a:gd name="T6" fmla="*/ 11 w 11"/>
                  <a:gd name="T7" fmla="*/ 9 h 12"/>
                  <a:gd name="T8" fmla="*/ 4 w 11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2">
                    <a:moveTo>
                      <a:pt x="4" y="12"/>
                    </a:moveTo>
                    <a:lnTo>
                      <a:pt x="0" y="2"/>
                    </a:lnTo>
                    <a:lnTo>
                      <a:pt x="7" y="0"/>
                    </a:lnTo>
                    <a:lnTo>
                      <a:pt x="11" y="9"/>
                    </a:lnTo>
                    <a:lnTo>
                      <a:pt x="4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42" name="Freeform 477">
                <a:extLst>
                  <a:ext uri="{FF2B5EF4-FFF2-40B4-BE49-F238E27FC236}">
                    <a16:creationId xmlns:a16="http://schemas.microsoft.com/office/drawing/2014/main" id="{7FF07466-E0C6-0D46-12A1-0C64594DEE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4026" y="2381251"/>
                <a:ext cx="20638" cy="17463"/>
              </a:xfrm>
              <a:custGeom>
                <a:avLst/>
                <a:gdLst>
                  <a:gd name="T0" fmla="*/ 7 w 13"/>
                  <a:gd name="T1" fmla="*/ 11 h 11"/>
                  <a:gd name="T2" fmla="*/ 0 w 13"/>
                  <a:gd name="T3" fmla="*/ 5 h 11"/>
                  <a:gd name="T4" fmla="*/ 6 w 13"/>
                  <a:gd name="T5" fmla="*/ 0 h 11"/>
                  <a:gd name="T6" fmla="*/ 13 w 13"/>
                  <a:gd name="T7" fmla="*/ 6 h 11"/>
                  <a:gd name="T8" fmla="*/ 7 w 13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1">
                    <a:moveTo>
                      <a:pt x="7" y="11"/>
                    </a:moveTo>
                    <a:lnTo>
                      <a:pt x="0" y="5"/>
                    </a:lnTo>
                    <a:lnTo>
                      <a:pt x="6" y="0"/>
                    </a:lnTo>
                    <a:lnTo>
                      <a:pt x="13" y="6"/>
                    </a:lnTo>
                    <a:lnTo>
                      <a:pt x="7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43" name="Freeform 478">
                <a:extLst>
                  <a:ext uri="{FF2B5EF4-FFF2-40B4-BE49-F238E27FC236}">
                    <a16:creationId xmlns:a16="http://schemas.microsoft.com/office/drawing/2014/main" id="{5E8CF9A9-4E67-0A89-7E3E-4601F46512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9901" y="2359026"/>
                <a:ext cx="17463" cy="17463"/>
              </a:xfrm>
              <a:custGeom>
                <a:avLst/>
                <a:gdLst>
                  <a:gd name="T0" fmla="*/ 9 w 11"/>
                  <a:gd name="T1" fmla="*/ 11 h 11"/>
                  <a:gd name="T2" fmla="*/ 0 w 11"/>
                  <a:gd name="T3" fmla="*/ 7 h 11"/>
                  <a:gd name="T4" fmla="*/ 2 w 11"/>
                  <a:gd name="T5" fmla="*/ 0 h 11"/>
                  <a:gd name="T6" fmla="*/ 11 w 11"/>
                  <a:gd name="T7" fmla="*/ 4 h 11"/>
                  <a:gd name="T8" fmla="*/ 9 w 11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1">
                    <a:moveTo>
                      <a:pt x="9" y="11"/>
                    </a:moveTo>
                    <a:lnTo>
                      <a:pt x="0" y="7"/>
                    </a:lnTo>
                    <a:lnTo>
                      <a:pt x="2" y="0"/>
                    </a:lnTo>
                    <a:lnTo>
                      <a:pt x="11" y="4"/>
                    </a:lnTo>
                    <a:lnTo>
                      <a:pt x="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44" name="Rectangle 479">
                <a:extLst>
                  <a:ext uri="{FF2B5EF4-FFF2-40B4-BE49-F238E27FC236}">
                    <a16:creationId xmlns:a16="http://schemas.microsoft.com/office/drawing/2014/main" id="{06E5DA94-5C6C-E973-15E4-2206B0B3BC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4663" y="2336801"/>
                <a:ext cx="17463" cy="111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45" name="Freeform 480">
                <a:extLst>
                  <a:ext uri="{FF2B5EF4-FFF2-40B4-BE49-F238E27FC236}">
                    <a16:creationId xmlns:a16="http://schemas.microsoft.com/office/drawing/2014/main" id="{37E367F0-F44A-677E-0041-4EE8C82C4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9901" y="2308226"/>
                <a:ext cx="17463" cy="15875"/>
              </a:xfrm>
              <a:custGeom>
                <a:avLst/>
                <a:gdLst>
                  <a:gd name="T0" fmla="*/ 2 w 11"/>
                  <a:gd name="T1" fmla="*/ 10 h 10"/>
                  <a:gd name="T2" fmla="*/ 0 w 11"/>
                  <a:gd name="T3" fmla="*/ 4 h 10"/>
                  <a:gd name="T4" fmla="*/ 9 w 11"/>
                  <a:gd name="T5" fmla="*/ 0 h 10"/>
                  <a:gd name="T6" fmla="*/ 11 w 11"/>
                  <a:gd name="T7" fmla="*/ 6 h 10"/>
                  <a:gd name="T8" fmla="*/ 2 w 11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0">
                    <a:moveTo>
                      <a:pt x="2" y="10"/>
                    </a:moveTo>
                    <a:lnTo>
                      <a:pt x="0" y="4"/>
                    </a:lnTo>
                    <a:lnTo>
                      <a:pt x="9" y="0"/>
                    </a:lnTo>
                    <a:lnTo>
                      <a:pt x="11" y="6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46" name="Freeform 481">
                <a:extLst>
                  <a:ext uri="{FF2B5EF4-FFF2-40B4-BE49-F238E27FC236}">
                    <a16:creationId xmlns:a16="http://schemas.microsoft.com/office/drawing/2014/main" id="{1F6C4E57-9647-A1F3-5FF9-AD15D2ADB5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4026" y="2284414"/>
                <a:ext cx="20638" cy="19050"/>
              </a:xfrm>
              <a:custGeom>
                <a:avLst/>
                <a:gdLst>
                  <a:gd name="T0" fmla="*/ 6 w 13"/>
                  <a:gd name="T1" fmla="*/ 12 h 12"/>
                  <a:gd name="T2" fmla="*/ 0 w 13"/>
                  <a:gd name="T3" fmla="*/ 7 h 12"/>
                  <a:gd name="T4" fmla="*/ 7 w 13"/>
                  <a:gd name="T5" fmla="*/ 0 h 12"/>
                  <a:gd name="T6" fmla="*/ 13 w 13"/>
                  <a:gd name="T7" fmla="*/ 5 h 12"/>
                  <a:gd name="T8" fmla="*/ 6 w 13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2">
                    <a:moveTo>
                      <a:pt x="6" y="12"/>
                    </a:moveTo>
                    <a:lnTo>
                      <a:pt x="0" y="7"/>
                    </a:lnTo>
                    <a:lnTo>
                      <a:pt x="7" y="0"/>
                    </a:lnTo>
                    <a:lnTo>
                      <a:pt x="13" y="5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47" name="Freeform 482">
                <a:extLst>
                  <a:ext uri="{FF2B5EF4-FFF2-40B4-BE49-F238E27FC236}">
                    <a16:creationId xmlns:a16="http://schemas.microsoft.com/office/drawing/2014/main" id="{6BAFEC93-3CF0-ACDC-ACC5-95CC692D13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3388" y="2270126"/>
                <a:ext cx="17463" cy="19050"/>
              </a:xfrm>
              <a:custGeom>
                <a:avLst/>
                <a:gdLst>
                  <a:gd name="T0" fmla="*/ 7 w 11"/>
                  <a:gd name="T1" fmla="*/ 12 h 12"/>
                  <a:gd name="T2" fmla="*/ 0 w 11"/>
                  <a:gd name="T3" fmla="*/ 9 h 12"/>
                  <a:gd name="T4" fmla="*/ 4 w 11"/>
                  <a:gd name="T5" fmla="*/ 0 h 12"/>
                  <a:gd name="T6" fmla="*/ 11 w 11"/>
                  <a:gd name="T7" fmla="*/ 3 h 12"/>
                  <a:gd name="T8" fmla="*/ 7 w 11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2">
                    <a:moveTo>
                      <a:pt x="7" y="12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11" y="3"/>
                    </a:lnTo>
                    <a:lnTo>
                      <a:pt x="7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48" name="Freeform 483">
                <a:extLst>
                  <a:ext uri="{FF2B5EF4-FFF2-40B4-BE49-F238E27FC236}">
                    <a16:creationId xmlns:a16="http://schemas.microsoft.com/office/drawing/2014/main" id="{16869035-10B8-9544-B7DD-CD3B486016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751" y="2176464"/>
                <a:ext cx="169863" cy="171450"/>
              </a:xfrm>
              <a:custGeom>
                <a:avLst/>
                <a:gdLst>
                  <a:gd name="T0" fmla="*/ 5 w 107"/>
                  <a:gd name="T1" fmla="*/ 108 h 108"/>
                  <a:gd name="T2" fmla="*/ 0 w 107"/>
                  <a:gd name="T3" fmla="*/ 101 h 108"/>
                  <a:gd name="T4" fmla="*/ 101 w 107"/>
                  <a:gd name="T5" fmla="*/ 0 h 108"/>
                  <a:gd name="T6" fmla="*/ 107 w 107"/>
                  <a:gd name="T7" fmla="*/ 5 h 108"/>
                  <a:gd name="T8" fmla="*/ 5 w 107"/>
                  <a:gd name="T9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108">
                    <a:moveTo>
                      <a:pt x="5" y="108"/>
                    </a:moveTo>
                    <a:lnTo>
                      <a:pt x="0" y="101"/>
                    </a:lnTo>
                    <a:lnTo>
                      <a:pt x="101" y="0"/>
                    </a:lnTo>
                    <a:lnTo>
                      <a:pt x="107" y="5"/>
                    </a:lnTo>
                    <a:lnTo>
                      <a:pt x="5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49" name="Freeform 484">
                <a:extLst>
                  <a:ext uri="{FF2B5EF4-FFF2-40B4-BE49-F238E27FC236}">
                    <a16:creationId xmlns:a16="http://schemas.microsoft.com/office/drawing/2014/main" id="{11C6E266-7828-8765-B9A8-85F5210D8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8163" y="2171701"/>
                <a:ext cx="47625" cy="49213"/>
              </a:xfrm>
              <a:custGeom>
                <a:avLst/>
                <a:gdLst>
                  <a:gd name="T0" fmla="*/ 30 w 30"/>
                  <a:gd name="T1" fmla="*/ 31 h 31"/>
                  <a:gd name="T2" fmla="*/ 0 w 30"/>
                  <a:gd name="T3" fmla="*/ 31 h 31"/>
                  <a:gd name="T4" fmla="*/ 0 w 30"/>
                  <a:gd name="T5" fmla="*/ 0 h 31"/>
                  <a:gd name="T6" fmla="*/ 8 w 30"/>
                  <a:gd name="T7" fmla="*/ 0 h 31"/>
                  <a:gd name="T8" fmla="*/ 8 w 30"/>
                  <a:gd name="T9" fmla="*/ 23 h 31"/>
                  <a:gd name="T10" fmla="*/ 30 w 30"/>
                  <a:gd name="T11" fmla="*/ 23 h 31"/>
                  <a:gd name="T12" fmla="*/ 30 w 30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31">
                    <a:moveTo>
                      <a:pt x="30" y="31"/>
                    </a:moveTo>
                    <a:lnTo>
                      <a:pt x="0" y="31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8" y="23"/>
                    </a:lnTo>
                    <a:lnTo>
                      <a:pt x="30" y="23"/>
                    </a:lnTo>
                    <a:lnTo>
                      <a:pt x="30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0" name="Freeform 485">
                <a:extLst>
                  <a:ext uri="{FF2B5EF4-FFF2-40B4-BE49-F238E27FC236}">
                    <a16:creationId xmlns:a16="http://schemas.microsoft.com/office/drawing/2014/main" id="{889BFD0C-4373-6490-94B0-7B5CDC5230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276" y="2481264"/>
                <a:ext cx="44450" cy="61913"/>
              </a:xfrm>
              <a:custGeom>
                <a:avLst/>
                <a:gdLst>
                  <a:gd name="T0" fmla="*/ 7 w 28"/>
                  <a:gd name="T1" fmla="*/ 39 h 39"/>
                  <a:gd name="T2" fmla="*/ 0 w 28"/>
                  <a:gd name="T3" fmla="*/ 35 h 39"/>
                  <a:gd name="T4" fmla="*/ 21 w 28"/>
                  <a:gd name="T5" fmla="*/ 0 h 39"/>
                  <a:gd name="T6" fmla="*/ 28 w 28"/>
                  <a:gd name="T7" fmla="*/ 4 h 39"/>
                  <a:gd name="T8" fmla="*/ 7 w 28"/>
                  <a:gd name="T9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39">
                    <a:moveTo>
                      <a:pt x="7" y="39"/>
                    </a:moveTo>
                    <a:lnTo>
                      <a:pt x="0" y="35"/>
                    </a:lnTo>
                    <a:lnTo>
                      <a:pt x="21" y="0"/>
                    </a:lnTo>
                    <a:lnTo>
                      <a:pt x="28" y="4"/>
                    </a:lnTo>
                    <a:lnTo>
                      <a:pt x="7" y="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1" name="Freeform 486">
                <a:extLst>
                  <a:ext uri="{FF2B5EF4-FFF2-40B4-BE49-F238E27FC236}">
                    <a16:creationId xmlns:a16="http://schemas.microsoft.com/office/drawing/2014/main" id="{2B1BC9E0-3965-CCBB-27EA-956B2F4860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2126" y="2481264"/>
                <a:ext cx="44450" cy="61913"/>
              </a:xfrm>
              <a:custGeom>
                <a:avLst/>
                <a:gdLst>
                  <a:gd name="T0" fmla="*/ 21 w 28"/>
                  <a:gd name="T1" fmla="*/ 39 h 39"/>
                  <a:gd name="T2" fmla="*/ 0 w 28"/>
                  <a:gd name="T3" fmla="*/ 4 h 39"/>
                  <a:gd name="T4" fmla="*/ 7 w 28"/>
                  <a:gd name="T5" fmla="*/ 0 h 39"/>
                  <a:gd name="T6" fmla="*/ 28 w 28"/>
                  <a:gd name="T7" fmla="*/ 35 h 39"/>
                  <a:gd name="T8" fmla="*/ 21 w 28"/>
                  <a:gd name="T9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39">
                    <a:moveTo>
                      <a:pt x="21" y="39"/>
                    </a:moveTo>
                    <a:lnTo>
                      <a:pt x="0" y="4"/>
                    </a:lnTo>
                    <a:lnTo>
                      <a:pt x="7" y="0"/>
                    </a:lnTo>
                    <a:lnTo>
                      <a:pt x="28" y="35"/>
                    </a:lnTo>
                    <a:lnTo>
                      <a:pt x="21" y="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F2B63021-9E2A-99B2-245E-86A74D380C35}"/>
              </a:ext>
            </a:extLst>
          </p:cNvPr>
          <p:cNvSpPr/>
          <p:nvPr/>
        </p:nvSpPr>
        <p:spPr>
          <a:xfrm>
            <a:off x="8186012" y="1815150"/>
            <a:ext cx="3634513" cy="45025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Impact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DABE7FF-2CDE-4AD6-3CD7-BE0C7CBF3995}"/>
              </a:ext>
            </a:extLst>
          </p:cNvPr>
          <p:cNvGrpSpPr/>
          <p:nvPr/>
        </p:nvGrpSpPr>
        <p:grpSpPr>
          <a:xfrm>
            <a:off x="8278892" y="1538523"/>
            <a:ext cx="421720" cy="582769"/>
            <a:chOff x="7422435" y="4488269"/>
            <a:chExt cx="421720" cy="582769"/>
          </a:xfrm>
        </p:grpSpPr>
        <p:sp>
          <p:nvSpPr>
            <p:cNvPr id="54" name="Graphic 2">
              <a:extLst>
                <a:ext uri="{FF2B5EF4-FFF2-40B4-BE49-F238E27FC236}">
                  <a16:creationId xmlns:a16="http://schemas.microsoft.com/office/drawing/2014/main" id="{70492ED7-CA2C-C490-01AA-A47C487A0FE6}"/>
                </a:ext>
              </a:extLst>
            </p:cNvPr>
            <p:cNvSpPr/>
            <p:nvPr/>
          </p:nvSpPr>
          <p:spPr>
            <a:xfrm flipH="1">
              <a:off x="7422435" y="4488269"/>
              <a:ext cx="421720" cy="582769"/>
            </a:xfrm>
            <a:custGeom>
              <a:avLst/>
              <a:gdLst>
                <a:gd name="connsiteX0" fmla="*/ 0 w 420541"/>
                <a:gd name="connsiteY0" fmla="*/ 147870 h 581136"/>
                <a:gd name="connsiteX1" fmla="*/ 212489 w 420541"/>
                <a:gd name="connsiteY1" fmla="*/ 0 h 581136"/>
                <a:gd name="connsiteX2" fmla="*/ 421521 w 420541"/>
                <a:gd name="connsiteY2" fmla="*/ 147870 h 581136"/>
                <a:gd name="connsiteX3" fmla="*/ 421521 w 420541"/>
                <a:gd name="connsiteY3" fmla="*/ 438465 h 581136"/>
                <a:gd name="connsiteX4" fmla="*/ 210761 w 420541"/>
                <a:gd name="connsiteY4" fmla="*/ 581191 h 581136"/>
                <a:gd name="connsiteX5" fmla="*/ 0 w 420541"/>
                <a:gd name="connsiteY5" fmla="*/ 436750 h 581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0541" h="581136">
                  <a:moveTo>
                    <a:pt x="0" y="147870"/>
                  </a:moveTo>
                  <a:lnTo>
                    <a:pt x="212489" y="0"/>
                  </a:lnTo>
                  <a:lnTo>
                    <a:pt x="421521" y="147870"/>
                  </a:lnTo>
                  <a:lnTo>
                    <a:pt x="421521" y="438465"/>
                  </a:lnTo>
                  <a:lnTo>
                    <a:pt x="210761" y="581191"/>
                  </a:lnTo>
                  <a:lnTo>
                    <a:pt x="0" y="436750"/>
                  </a:lnTo>
                  <a:close/>
                </a:path>
              </a:pathLst>
            </a:custGeom>
            <a:solidFill>
              <a:schemeClr val="tx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056C2E32-D020-BB39-FB78-2B837F80A5F4}"/>
                </a:ext>
              </a:extLst>
            </p:cNvPr>
            <p:cNvGrpSpPr/>
            <p:nvPr/>
          </p:nvGrpSpPr>
          <p:grpSpPr>
            <a:xfrm>
              <a:off x="7456759" y="4590773"/>
              <a:ext cx="352424" cy="349251"/>
              <a:chOff x="3257550" y="5197475"/>
              <a:chExt cx="352424" cy="349251"/>
            </a:xfrm>
            <a:solidFill>
              <a:schemeClr val="bg1"/>
            </a:solidFill>
          </p:grpSpPr>
          <p:sp>
            <p:nvSpPr>
              <p:cNvPr id="56" name="Freeform 2184">
                <a:extLst>
                  <a:ext uri="{FF2B5EF4-FFF2-40B4-BE49-F238E27FC236}">
                    <a16:creationId xmlns:a16="http://schemas.microsoft.com/office/drawing/2014/main" id="{EF7263BE-9DA8-8A9E-EBC5-5BAB4B3A73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2487" y="5302250"/>
                <a:ext cx="203200" cy="173038"/>
              </a:xfrm>
              <a:custGeom>
                <a:avLst/>
                <a:gdLst>
                  <a:gd name="T0" fmla="*/ 128 w 128"/>
                  <a:gd name="T1" fmla="*/ 109 h 109"/>
                  <a:gd name="T2" fmla="*/ 0 w 128"/>
                  <a:gd name="T3" fmla="*/ 109 h 109"/>
                  <a:gd name="T4" fmla="*/ 0 w 128"/>
                  <a:gd name="T5" fmla="*/ 103 h 109"/>
                  <a:gd name="T6" fmla="*/ 120 w 128"/>
                  <a:gd name="T7" fmla="*/ 103 h 109"/>
                  <a:gd name="T8" fmla="*/ 120 w 128"/>
                  <a:gd name="T9" fmla="*/ 0 h 109"/>
                  <a:gd name="T10" fmla="*/ 128 w 128"/>
                  <a:gd name="T11" fmla="*/ 0 h 109"/>
                  <a:gd name="T12" fmla="*/ 128 w 128"/>
                  <a:gd name="T1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" h="109">
                    <a:moveTo>
                      <a:pt x="128" y="109"/>
                    </a:moveTo>
                    <a:lnTo>
                      <a:pt x="0" y="109"/>
                    </a:lnTo>
                    <a:lnTo>
                      <a:pt x="0" y="103"/>
                    </a:lnTo>
                    <a:lnTo>
                      <a:pt x="120" y="103"/>
                    </a:lnTo>
                    <a:lnTo>
                      <a:pt x="120" y="0"/>
                    </a:lnTo>
                    <a:lnTo>
                      <a:pt x="128" y="0"/>
                    </a:lnTo>
                    <a:lnTo>
                      <a:pt x="128" y="10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7" name="Freeform 2185">
                <a:extLst>
                  <a:ext uri="{FF2B5EF4-FFF2-40B4-BE49-F238E27FC236}">
                    <a16:creationId xmlns:a16="http://schemas.microsoft.com/office/drawing/2014/main" id="{CCC474C4-84E5-FAF6-053C-92E3E8EC25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2487" y="5270500"/>
                <a:ext cx="217487" cy="38100"/>
              </a:xfrm>
              <a:custGeom>
                <a:avLst/>
                <a:gdLst>
                  <a:gd name="T0" fmla="*/ 137 w 137"/>
                  <a:gd name="T1" fmla="*/ 24 h 24"/>
                  <a:gd name="T2" fmla="*/ 0 w 137"/>
                  <a:gd name="T3" fmla="*/ 24 h 24"/>
                  <a:gd name="T4" fmla="*/ 0 w 137"/>
                  <a:gd name="T5" fmla="*/ 16 h 24"/>
                  <a:gd name="T6" fmla="*/ 129 w 137"/>
                  <a:gd name="T7" fmla="*/ 16 h 24"/>
                  <a:gd name="T8" fmla="*/ 129 w 137"/>
                  <a:gd name="T9" fmla="*/ 8 h 24"/>
                  <a:gd name="T10" fmla="*/ 0 w 137"/>
                  <a:gd name="T11" fmla="*/ 8 h 24"/>
                  <a:gd name="T12" fmla="*/ 0 w 137"/>
                  <a:gd name="T13" fmla="*/ 0 h 24"/>
                  <a:gd name="T14" fmla="*/ 137 w 137"/>
                  <a:gd name="T15" fmla="*/ 0 h 24"/>
                  <a:gd name="T16" fmla="*/ 137 w 137"/>
                  <a:gd name="T1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7" h="24">
                    <a:moveTo>
                      <a:pt x="137" y="24"/>
                    </a:moveTo>
                    <a:lnTo>
                      <a:pt x="0" y="24"/>
                    </a:lnTo>
                    <a:lnTo>
                      <a:pt x="0" y="16"/>
                    </a:lnTo>
                    <a:lnTo>
                      <a:pt x="129" y="16"/>
                    </a:lnTo>
                    <a:lnTo>
                      <a:pt x="129" y="8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137" y="0"/>
                    </a:lnTo>
                    <a:lnTo>
                      <a:pt x="137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8" name="Freeform 2186">
                <a:extLst>
                  <a:ext uri="{FF2B5EF4-FFF2-40B4-BE49-F238E27FC236}">
                    <a16:creationId xmlns:a16="http://schemas.microsoft.com/office/drawing/2014/main" id="{E92D8B19-9062-8CA1-57FC-6501187227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187" y="5197475"/>
                <a:ext cx="109537" cy="60325"/>
              </a:xfrm>
              <a:custGeom>
                <a:avLst/>
                <a:gdLst>
                  <a:gd name="T0" fmla="*/ 62 w 69"/>
                  <a:gd name="T1" fmla="*/ 38 h 38"/>
                  <a:gd name="T2" fmla="*/ 35 w 69"/>
                  <a:gd name="T3" fmla="*/ 10 h 38"/>
                  <a:gd name="T4" fmla="*/ 5 w 69"/>
                  <a:gd name="T5" fmla="*/ 38 h 38"/>
                  <a:gd name="T6" fmla="*/ 0 w 69"/>
                  <a:gd name="T7" fmla="*/ 33 h 38"/>
                  <a:gd name="T8" fmla="*/ 35 w 69"/>
                  <a:gd name="T9" fmla="*/ 0 h 38"/>
                  <a:gd name="T10" fmla="*/ 69 w 69"/>
                  <a:gd name="T11" fmla="*/ 33 h 38"/>
                  <a:gd name="T12" fmla="*/ 62 w 69"/>
                  <a:gd name="T13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" h="38">
                    <a:moveTo>
                      <a:pt x="62" y="38"/>
                    </a:moveTo>
                    <a:lnTo>
                      <a:pt x="35" y="10"/>
                    </a:lnTo>
                    <a:lnTo>
                      <a:pt x="5" y="38"/>
                    </a:lnTo>
                    <a:lnTo>
                      <a:pt x="0" y="33"/>
                    </a:lnTo>
                    <a:lnTo>
                      <a:pt x="35" y="0"/>
                    </a:lnTo>
                    <a:lnTo>
                      <a:pt x="69" y="33"/>
                    </a:lnTo>
                    <a:lnTo>
                      <a:pt x="62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59" name="Rectangle 2187">
                <a:extLst>
                  <a:ext uri="{FF2B5EF4-FFF2-40B4-BE49-F238E27FC236}">
                    <a16:creationId xmlns:a16="http://schemas.microsoft.com/office/drawing/2014/main" id="{72C99E4D-4D9B-CC94-DA9F-29A6A6A8A6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54400" y="5468938"/>
                <a:ext cx="12700" cy="396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60" name="Freeform 2188">
                <a:extLst>
                  <a:ext uri="{FF2B5EF4-FFF2-40B4-BE49-F238E27FC236}">
                    <a16:creationId xmlns:a16="http://schemas.microsoft.com/office/drawing/2014/main" id="{685E1E3B-083E-BFB8-61A1-125D21195B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38525" y="5502275"/>
                <a:ext cx="42862" cy="42863"/>
              </a:xfrm>
              <a:custGeom>
                <a:avLst/>
                <a:gdLst>
                  <a:gd name="T0" fmla="*/ 10 w 20"/>
                  <a:gd name="T1" fmla="*/ 20 h 20"/>
                  <a:gd name="T2" fmla="*/ 0 w 20"/>
                  <a:gd name="T3" fmla="*/ 10 h 20"/>
                  <a:gd name="T4" fmla="*/ 10 w 20"/>
                  <a:gd name="T5" fmla="*/ 0 h 20"/>
                  <a:gd name="T6" fmla="*/ 20 w 20"/>
                  <a:gd name="T7" fmla="*/ 10 h 20"/>
                  <a:gd name="T8" fmla="*/ 10 w 20"/>
                  <a:gd name="T9" fmla="*/ 20 h 20"/>
                  <a:gd name="T10" fmla="*/ 10 w 20"/>
                  <a:gd name="T11" fmla="*/ 6 h 20"/>
                  <a:gd name="T12" fmla="*/ 5 w 20"/>
                  <a:gd name="T13" fmla="*/ 10 h 20"/>
                  <a:gd name="T14" fmla="*/ 10 w 20"/>
                  <a:gd name="T15" fmla="*/ 15 h 20"/>
                  <a:gd name="T16" fmla="*/ 14 w 20"/>
                  <a:gd name="T17" fmla="*/ 10 h 20"/>
                  <a:gd name="T18" fmla="*/ 10 w 20"/>
                  <a:gd name="T19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" h="20">
                    <a:moveTo>
                      <a:pt x="10" y="20"/>
                    </a:moveTo>
                    <a:cubicBezTo>
                      <a:pt x="4" y="20"/>
                      <a:pt x="0" y="16"/>
                      <a:pt x="0" y="10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16" y="0"/>
                      <a:pt x="20" y="4"/>
                      <a:pt x="20" y="10"/>
                    </a:cubicBezTo>
                    <a:cubicBezTo>
                      <a:pt x="20" y="16"/>
                      <a:pt x="16" y="20"/>
                      <a:pt x="10" y="20"/>
                    </a:cubicBezTo>
                    <a:close/>
                    <a:moveTo>
                      <a:pt x="10" y="6"/>
                    </a:moveTo>
                    <a:cubicBezTo>
                      <a:pt x="7" y="6"/>
                      <a:pt x="5" y="8"/>
                      <a:pt x="5" y="10"/>
                    </a:cubicBezTo>
                    <a:cubicBezTo>
                      <a:pt x="5" y="13"/>
                      <a:pt x="7" y="15"/>
                      <a:pt x="10" y="15"/>
                    </a:cubicBezTo>
                    <a:cubicBezTo>
                      <a:pt x="12" y="15"/>
                      <a:pt x="14" y="13"/>
                      <a:pt x="14" y="10"/>
                    </a:cubicBezTo>
                    <a:cubicBezTo>
                      <a:pt x="14" y="8"/>
                      <a:pt x="12" y="6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61" name="Freeform 2189">
                <a:extLst>
                  <a:ext uri="{FF2B5EF4-FFF2-40B4-BE49-F238E27FC236}">
                    <a16:creationId xmlns:a16="http://schemas.microsoft.com/office/drawing/2014/main" id="{A34D99B0-C9B5-0760-7906-E55CF9B8FA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94062" y="5237163"/>
                <a:ext cx="73025" cy="71438"/>
              </a:xfrm>
              <a:custGeom>
                <a:avLst/>
                <a:gdLst>
                  <a:gd name="T0" fmla="*/ 18 w 35"/>
                  <a:gd name="T1" fmla="*/ 34 h 34"/>
                  <a:gd name="T2" fmla="*/ 0 w 35"/>
                  <a:gd name="T3" fmla="*/ 17 h 34"/>
                  <a:gd name="T4" fmla="*/ 18 w 35"/>
                  <a:gd name="T5" fmla="*/ 0 h 34"/>
                  <a:gd name="T6" fmla="*/ 35 w 35"/>
                  <a:gd name="T7" fmla="*/ 17 h 34"/>
                  <a:gd name="T8" fmla="*/ 18 w 35"/>
                  <a:gd name="T9" fmla="*/ 34 h 34"/>
                  <a:gd name="T10" fmla="*/ 18 w 35"/>
                  <a:gd name="T11" fmla="*/ 6 h 34"/>
                  <a:gd name="T12" fmla="*/ 6 w 35"/>
                  <a:gd name="T13" fmla="*/ 17 h 34"/>
                  <a:gd name="T14" fmla="*/ 18 w 35"/>
                  <a:gd name="T15" fmla="*/ 28 h 34"/>
                  <a:gd name="T16" fmla="*/ 29 w 35"/>
                  <a:gd name="T17" fmla="*/ 17 h 34"/>
                  <a:gd name="T18" fmla="*/ 18 w 35"/>
                  <a:gd name="T19" fmla="*/ 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34">
                    <a:moveTo>
                      <a:pt x="18" y="34"/>
                    </a:moveTo>
                    <a:cubicBezTo>
                      <a:pt x="8" y="34"/>
                      <a:pt x="0" y="2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27" y="0"/>
                      <a:pt x="35" y="8"/>
                      <a:pt x="35" y="17"/>
                    </a:cubicBezTo>
                    <a:cubicBezTo>
                      <a:pt x="35" y="27"/>
                      <a:pt x="27" y="34"/>
                      <a:pt x="18" y="34"/>
                    </a:cubicBezTo>
                    <a:close/>
                    <a:moveTo>
                      <a:pt x="18" y="6"/>
                    </a:moveTo>
                    <a:cubicBezTo>
                      <a:pt x="11" y="6"/>
                      <a:pt x="6" y="11"/>
                      <a:pt x="6" y="17"/>
                    </a:cubicBezTo>
                    <a:cubicBezTo>
                      <a:pt x="6" y="23"/>
                      <a:pt x="11" y="28"/>
                      <a:pt x="18" y="28"/>
                    </a:cubicBezTo>
                    <a:cubicBezTo>
                      <a:pt x="24" y="28"/>
                      <a:pt x="29" y="23"/>
                      <a:pt x="29" y="17"/>
                    </a:cubicBezTo>
                    <a:cubicBezTo>
                      <a:pt x="29" y="11"/>
                      <a:pt x="24" y="6"/>
                      <a:pt x="18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62" name="Rectangle 2191">
                <a:extLst>
                  <a:ext uri="{FF2B5EF4-FFF2-40B4-BE49-F238E27FC236}">
                    <a16:creationId xmlns:a16="http://schemas.microsoft.com/office/drawing/2014/main" id="{22E13773-9E6A-D3F6-7913-B322272459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92475" y="5410201"/>
                <a:ext cx="11113" cy="1365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63" name="Rectangle 2192">
                <a:extLst>
                  <a:ext uri="{FF2B5EF4-FFF2-40B4-BE49-F238E27FC236}">
                    <a16:creationId xmlns:a16="http://schemas.microsoft.com/office/drawing/2014/main" id="{C2BAE3DF-C4C6-4952-C5A8-07D3EC40D0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25813" y="5462588"/>
                <a:ext cx="9525" cy="841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64" name="Freeform 2193">
                <a:extLst>
                  <a:ext uri="{FF2B5EF4-FFF2-40B4-BE49-F238E27FC236}">
                    <a16:creationId xmlns:a16="http://schemas.microsoft.com/office/drawing/2014/main" id="{21E515A1-3477-7AA6-28BA-A234ACB19C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7550" y="5322888"/>
                <a:ext cx="222250" cy="223838"/>
              </a:xfrm>
              <a:custGeom>
                <a:avLst/>
                <a:gdLst>
                  <a:gd name="T0" fmla="*/ 53 w 105"/>
                  <a:gd name="T1" fmla="*/ 107 h 107"/>
                  <a:gd name="T2" fmla="*/ 47 w 105"/>
                  <a:gd name="T3" fmla="*/ 107 h 107"/>
                  <a:gd name="T4" fmla="*/ 47 w 105"/>
                  <a:gd name="T5" fmla="*/ 15 h 107"/>
                  <a:gd name="T6" fmla="*/ 99 w 105"/>
                  <a:gd name="T7" fmla="*/ 15 h 107"/>
                  <a:gd name="T8" fmla="*/ 99 w 105"/>
                  <a:gd name="T9" fmla="*/ 5 h 107"/>
                  <a:gd name="T10" fmla="*/ 19 w 105"/>
                  <a:gd name="T11" fmla="*/ 5 h 107"/>
                  <a:gd name="T12" fmla="*/ 10 w 105"/>
                  <a:gd name="T13" fmla="*/ 9 h 107"/>
                  <a:gd name="T14" fmla="*/ 6 w 105"/>
                  <a:gd name="T15" fmla="*/ 18 h 107"/>
                  <a:gd name="T16" fmla="*/ 6 w 105"/>
                  <a:gd name="T17" fmla="*/ 52 h 107"/>
                  <a:gd name="T18" fmla="*/ 19 w 105"/>
                  <a:gd name="T19" fmla="*/ 52 h 107"/>
                  <a:gd name="T20" fmla="*/ 19 w 105"/>
                  <a:gd name="T21" fmla="*/ 58 h 107"/>
                  <a:gd name="T22" fmla="*/ 0 w 105"/>
                  <a:gd name="T23" fmla="*/ 58 h 107"/>
                  <a:gd name="T24" fmla="*/ 0 w 105"/>
                  <a:gd name="T25" fmla="*/ 18 h 107"/>
                  <a:gd name="T26" fmla="*/ 6 w 105"/>
                  <a:gd name="T27" fmla="*/ 5 h 107"/>
                  <a:gd name="T28" fmla="*/ 19 w 105"/>
                  <a:gd name="T29" fmla="*/ 0 h 107"/>
                  <a:gd name="T30" fmla="*/ 105 w 105"/>
                  <a:gd name="T31" fmla="*/ 0 h 107"/>
                  <a:gd name="T32" fmla="*/ 105 w 105"/>
                  <a:gd name="T33" fmla="*/ 21 h 107"/>
                  <a:gd name="T34" fmla="*/ 53 w 105"/>
                  <a:gd name="T35" fmla="*/ 21 h 107"/>
                  <a:gd name="T36" fmla="*/ 53 w 105"/>
                  <a:gd name="T37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5" h="107">
                    <a:moveTo>
                      <a:pt x="53" y="107"/>
                    </a:moveTo>
                    <a:cubicBezTo>
                      <a:pt x="47" y="107"/>
                      <a:pt x="47" y="107"/>
                      <a:pt x="47" y="107"/>
                    </a:cubicBezTo>
                    <a:cubicBezTo>
                      <a:pt x="47" y="15"/>
                      <a:pt x="47" y="15"/>
                      <a:pt x="47" y="15"/>
                    </a:cubicBezTo>
                    <a:cubicBezTo>
                      <a:pt x="99" y="15"/>
                      <a:pt x="99" y="15"/>
                      <a:pt x="99" y="15"/>
                    </a:cubicBezTo>
                    <a:cubicBezTo>
                      <a:pt x="99" y="5"/>
                      <a:pt x="99" y="5"/>
                      <a:pt x="99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5" y="5"/>
                      <a:pt x="12" y="7"/>
                      <a:pt x="10" y="9"/>
                    </a:cubicBezTo>
                    <a:cubicBezTo>
                      <a:pt x="7" y="12"/>
                      <a:pt x="6" y="15"/>
                      <a:pt x="6" y="18"/>
                    </a:cubicBezTo>
                    <a:cubicBezTo>
                      <a:pt x="6" y="52"/>
                      <a:pt x="6" y="52"/>
                      <a:pt x="6" y="52"/>
                    </a:cubicBezTo>
                    <a:cubicBezTo>
                      <a:pt x="19" y="52"/>
                      <a:pt x="19" y="52"/>
                      <a:pt x="19" y="52"/>
                    </a:cubicBezTo>
                    <a:cubicBezTo>
                      <a:pt x="19" y="58"/>
                      <a:pt x="19" y="58"/>
                      <a:pt x="19" y="58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2" y="9"/>
                      <a:pt x="6" y="5"/>
                    </a:cubicBezTo>
                    <a:cubicBezTo>
                      <a:pt x="9" y="2"/>
                      <a:pt x="14" y="0"/>
                      <a:pt x="19" y="0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5" y="21"/>
                      <a:pt x="105" y="21"/>
                      <a:pt x="105" y="21"/>
                    </a:cubicBezTo>
                    <a:cubicBezTo>
                      <a:pt x="53" y="21"/>
                      <a:pt x="53" y="21"/>
                      <a:pt x="53" y="21"/>
                    </a:cubicBezTo>
                    <a:lnTo>
                      <a:pt x="53" y="1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65" name="Rectangle 2194">
                <a:extLst>
                  <a:ext uri="{FF2B5EF4-FFF2-40B4-BE49-F238E27FC236}">
                    <a16:creationId xmlns:a16="http://schemas.microsoft.com/office/drawing/2014/main" id="{01F03E62-7736-3150-38FF-EFDC9C0EDE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92488" y="5419726"/>
                <a:ext cx="12700" cy="23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66" name="Rectangle 2195">
                <a:extLst>
                  <a:ext uri="{FF2B5EF4-FFF2-40B4-BE49-F238E27FC236}">
                    <a16:creationId xmlns:a16="http://schemas.microsoft.com/office/drawing/2014/main" id="{DDAD8846-AB28-6F86-6DE0-6877F54CDC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7888" y="5407026"/>
                <a:ext cx="12700" cy="365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67" name="Rectangle 2196">
                <a:extLst>
                  <a:ext uri="{FF2B5EF4-FFF2-40B4-BE49-F238E27FC236}">
                    <a16:creationId xmlns:a16="http://schemas.microsoft.com/office/drawing/2014/main" id="{940475A0-F872-3DD6-CB01-B3CC8F4E04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4875" y="5394326"/>
                <a:ext cx="11113" cy="492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68" name="Rectangle 2197">
                <a:extLst>
                  <a:ext uri="{FF2B5EF4-FFF2-40B4-BE49-F238E27FC236}">
                    <a16:creationId xmlns:a16="http://schemas.microsoft.com/office/drawing/2014/main" id="{E2409DF6-B325-B82A-6026-5E7220504D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70275" y="5381626"/>
                <a:ext cx="12700" cy="619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69" name="Rectangle 2198">
                <a:extLst>
                  <a:ext uri="{FF2B5EF4-FFF2-40B4-BE49-F238E27FC236}">
                    <a16:creationId xmlns:a16="http://schemas.microsoft.com/office/drawing/2014/main" id="{2A777080-FE0E-BA59-79D2-2B1F69129C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5675" y="5368926"/>
                <a:ext cx="12700" cy="746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70" name="Rectangle 2199">
                <a:extLst>
                  <a:ext uri="{FF2B5EF4-FFF2-40B4-BE49-F238E27FC236}">
                    <a16:creationId xmlns:a16="http://schemas.microsoft.com/office/drawing/2014/main" id="{F32399BB-1F04-78AB-F776-D96DDD7FAC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2663" y="5356226"/>
                <a:ext cx="12700" cy="873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71" name="Rectangle 2200">
                <a:extLst>
                  <a:ext uri="{FF2B5EF4-FFF2-40B4-BE49-F238E27FC236}">
                    <a16:creationId xmlns:a16="http://schemas.microsoft.com/office/drawing/2014/main" id="{9483B532-80D5-FADA-3DAF-737A1945C4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48063" y="5343526"/>
                <a:ext cx="12700" cy="1000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</p:grpSp>
      <p:sp>
        <p:nvSpPr>
          <p:cNvPr id="72" name="Rectangle 71">
            <a:extLst>
              <a:ext uri="{FF2B5EF4-FFF2-40B4-BE49-F238E27FC236}">
                <a16:creationId xmlns:a16="http://schemas.microsoft.com/office/drawing/2014/main" id="{6E504868-D9F3-7043-EAC2-76B6A0385677}"/>
              </a:ext>
            </a:extLst>
          </p:cNvPr>
          <p:cNvSpPr/>
          <p:nvPr/>
        </p:nvSpPr>
        <p:spPr>
          <a:xfrm>
            <a:off x="8099606" y="2265403"/>
            <a:ext cx="3634513" cy="3781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45720" bIns="45720" rtlCol="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buSzPct val="100000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Cambria"/>
                <a:cs typeface="Calibri"/>
              </a:rPr>
              <a:t>Impact on Application Development:</a:t>
            </a:r>
          </a:p>
          <a:p>
            <a:pPr marL="171450" indent="-171450">
              <a:spcBef>
                <a:spcPct val="20000"/>
              </a:spcBef>
              <a:spcAft>
                <a:spcPts val="20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defRPr/>
            </a:pPr>
            <a:r>
              <a:rPr lang="en-US" sz="1200" kern="0">
                <a:solidFill>
                  <a:schemeClr val="tx1"/>
                </a:solidFill>
              </a:rPr>
              <a:t>Integration with popular IDEs</a:t>
            </a:r>
            <a:endParaRPr lang="en-US" sz="1200" kern="0">
              <a:solidFill>
                <a:schemeClr val="tx1"/>
              </a:solidFill>
              <a:cs typeface="Arial"/>
            </a:endParaRPr>
          </a:p>
          <a:p>
            <a:pPr marL="171450" indent="-171450">
              <a:spcBef>
                <a:spcPct val="20000"/>
              </a:spcBef>
              <a:spcAft>
                <a:spcPts val="20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defRPr/>
            </a:pPr>
            <a:r>
              <a:rPr lang="en-US" sz="1200" kern="0">
                <a:solidFill>
                  <a:schemeClr val="tx1"/>
                </a:solidFill>
              </a:rPr>
              <a:t>Code suggestions based on LLMs</a:t>
            </a:r>
            <a:endParaRPr lang="en-US" sz="1200" kern="0">
              <a:solidFill>
                <a:schemeClr val="tx1"/>
              </a:solidFill>
              <a:cs typeface="Arial"/>
            </a:endParaRPr>
          </a:p>
          <a:p>
            <a:pPr marL="171450" indent="-171450">
              <a:spcBef>
                <a:spcPct val="20000"/>
              </a:spcBef>
              <a:spcAft>
                <a:spcPts val="20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defRPr/>
            </a:pPr>
            <a:r>
              <a:rPr lang="en-US" sz="1200" kern="0">
                <a:solidFill>
                  <a:schemeClr val="tx1"/>
                </a:solidFill>
              </a:rPr>
              <a:t>Multi-language coding support</a:t>
            </a:r>
          </a:p>
          <a:p>
            <a:pPr marL="171450" indent="-171450">
              <a:spcBef>
                <a:spcPct val="20000"/>
              </a:spcBef>
              <a:spcAft>
                <a:spcPts val="20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defRPr/>
            </a:pPr>
            <a:r>
              <a:rPr lang="en-US" sz="1200" kern="0">
                <a:solidFill>
                  <a:schemeClr val="tx1"/>
                </a:solidFill>
                <a:cs typeface="Arial"/>
              </a:rPr>
              <a:t>Automated Test case &amp; data generation</a:t>
            </a:r>
          </a:p>
          <a:p>
            <a:pPr marR="0" lvl="0" algn="l" defTabSz="914400">
              <a:lnSpc>
                <a:spcPct val="100000"/>
              </a:lnSpc>
              <a:spcBef>
                <a:spcPct val="20000"/>
              </a:spcBef>
              <a:spcAft>
                <a:spcPts val="200"/>
              </a:spcAft>
              <a:buClr>
                <a:schemeClr val="tx1"/>
              </a:buClr>
              <a:buSzPct val="90000"/>
              <a:tabLst/>
              <a:defRPr/>
            </a:pPr>
            <a:endParaRPr lang="en-US" sz="1200" kern="0">
              <a:solidFill>
                <a:schemeClr val="tx1"/>
              </a:solidFill>
              <a:ea typeface="Cambria"/>
              <a:cs typeface="Arial"/>
            </a:endParaRPr>
          </a:p>
          <a:p>
            <a:pPr marL="171450" indent="-171450">
              <a:spcAft>
                <a:spcPts val="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000">
              <a:solidFill>
                <a:schemeClr val="tx1"/>
              </a:solidFill>
              <a:ea typeface="Cambria"/>
              <a:cs typeface="Calibri"/>
            </a:endParaRPr>
          </a:p>
          <a:p>
            <a:pPr>
              <a:spcAft>
                <a:spcPts val="200"/>
              </a:spcAft>
              <a:buClr>
                <a:schemeClr val="tx1"/>
              </a:buClr>
              <a:buSzPct val="100000"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Cambria"/>
                <a:cs typeface="Calibri"/>
              </a:rPr>
              <a:t>Ease of use &amp; benefits:</a:t>
            </a:r>
            <a:r>
              <a:rPr lang="en-US" sz="1200" b="1">
                <a:solidFill>
                  <a:schemeClr val="tx1"/>
                </a:solidFill>
                <a:ea typeface="Cambria"/>
                <a:cs typeface="Calibri"/>
              </a:rPr>
              <a:t> </a:t>
            </a:r>
            <a:endParaRPr lang="en-US" sz="12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Cambria"/>
              <a:cs typeface="Calibri"/>
            </a:endParaRPr>
          </a:p>
          <a:p>
            <a:pPr marL="171450" indent="-171450">
              <a:spcBef>
                <a:spcPct val="20000"/>
              </a:spcBef>
              <a:spcAft>
                <a:spcPts val="20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defRPr/>
            </a:pPr>
            <a:r>
              <a:rPr lang="en-US" sz="1200" kern="0">
                <a:solidFill>
                  <a:schemeClr val="tx1"/>
                </a:solidFill>
              </a:rPr>
              <a:t>Accelerate application development</a:t>
            </a:r>
          </a:p>
          <a:p>
            <a:pPr marL="171450" indent="-171450">
              <a:spcBef>
                <a:spcPct val="20000"/>
              </a:spcBef>
              <a:spcAft>
                <a:spcPts val="20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defRPr/>
            </a:pPr>
            <a:r>
              <a:rPr lang="en-US" sz="1200" kern="0">
                <a:solidFill>
                  <a:schemeClr val="tx1"/>
                </a:solidFill>
              </a:rPr>
              <a:t>Produce higher-quality, more consistent code</a:t>
            </a:r>
          </a:p>
          <a:p>
            <a:pPr marL="171450" indent="-171450">
              <a:spcBef>
                <a:spcPct val="20000"/>
              </a:spcBef>
              <a:spcAft>
                <a:spcPts val="20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defRPr/>
            </a:pPr>
            <a:r>
              <a:rPr lang="en-US" sz="1200" kern="0">
                <a:solidFill>
                  <a:schemeClr val="tx1"/>
                </a:solidFill>
              </a:rPr>
              <a:t>Enable better code documentation and test coverage</a:t>
            </a:r>
          </a:p>
          <a:p>
            <a:pPr marL="171450" indent="-171450">
              <a:spcBef>
                <a:spcPct val="20000"/>
              </a:spcBef>
              <a:spcAft>
                <a:spcPts val="20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defRPr/>
            </a:pPr>
            <a:r>
              <a:rPr lang="en-US" sz="1200" kern="0">
                <a:solidFill>
                  <a:schemeClr val="tx1"/>
                </a:solidFill>
              </a:rPr>
              <a:t>Learn new coding techniques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DDA5B13E-30C3-591F-6898-D007EF105E84}"/>
              </a:ext>
            </a:extLst>
          </p:cNvPr>
          <p:cNvGrpSpPr/>
          <p:nvPr/>
        </p:nvGrpSpPr>
        <p:grpSpPr>
          <a:xfrm>
            <a:off x="4145724" y="2265402"/>
            <a:ext cx="3941203" cy="4009509"/>
            <a:chOff x="4145741" y="1937326"/>
            <a:chExt cx="3856514" cy="4455382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8D4C2999-C822-169A-2C7C-9A21F6AA667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45741" y="1937326"/>
              <a:ext cx="772" cy="4455382"/>
            </a:xfrm>
            <a:prstGeom prst="line">
              <a:avLst/>
            </a:prstGeom>
            <a:ln>
              <a:solidFill>
                <a:schemeClr val="tx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8521C3F7-C7F0-E919-E0F2-6C7FC3BF7188}"/>
                </a:ext>
              </a:extLst>
            </p:cNvPr>
            <p:cNvCxnSpPr>
              <a:cxnSpLocks/>
            </p:cNvCxnSpPr>
            <p:nvPr/>
          </p:nvCxnSpPr>
          <p:spPr>
            <a:xfrm>
              <a:off x="8001483" y="1937326"/>
              <a:ext cx="772" cy="4455382"/>
            </a:xfrm>
            <a:prstGeom prst="line">
              <a:avLst/>
            </a:prstGeom>
            <a:ln>
              <a:solidFill>
                <a:schemeClr val="tx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432678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DB4225-5A36-43E9-4172-5639065D6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99" y="575751"/>
            <a:ext cx="11303999" cy="644945"/>
          </a:xfrm>
        </p:spPr>
        <p:txBody>
          <a:bodyPr anchor="t"/>
          <a:lstStyle/>
          <a:p>
            <a:pPr algn="ctr"/>
            <a:r>
              <a:rPr lang="en-US"/>
              <a:t>CORA Code GenY Accelerators</a:t>
            </a:r>
          </a:p>
        </p:txBody>
      </p:sp>
      <p:sp>
        <p:nvSpPr>
          <p:cNvPr id="5" name="Round Diagonal Corner of Rectangle 3">
            <a:extLst>
              <a:ext uri="{FF2B5EF4-FFF2-40B4-BE49-F238E27FC236}">
                <a16:creationId xmlns:a16="http://schemas.microsoft.com/office/drawing/2014/main" id="{B8FB2E44-D22F-31E3-79FA-BEBDEC1E6043}"/>
              </a:ext>
            </a:extLst>
          </p:cNvPr>
          <p:cNvSpPr/>
          <p:nvPr/>
        </p:nvSpPr>
        <p:spPr>
          <a:xfrm>
            <a:off x="924677" y="2910070"/>
            <a:ext cx="2346037" cy="868218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238299" sx="103641" sy="103641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2"/>
                </a:solidFill>
              </a:rPr>
              <a:t>AI based Code Review plugin</a:t>
            </a:r>
          </a:p>
        </p:txBody>
      </p:sp>
      <p:sp>
        <p:nvSpPr>
          <p:cNvPr id="6" name="Round Diagonal Corner of Rectangle 4">
            <a:extLst>
              <a:ext uri="{FF2B5EF4-FFF2-40B4-BE49-F238E27FC236}">
                <a16:creationId xmlns:a16="http://schemas.microsoft.com/office/drawing/2014/main" id="{F07E9530-1BD4-3A82-2817-384ACBBA9BF5}"/>
              </a:ext>
            </a:extLst>
          </p:cNvPr>
          <p:cNvSpPr/>
          <p:nvPr/>
        </p:nvSpPr>
        <p:spPr>
          <a:xfrm>
            <a:off x="924677" y="1836070"/>
            <a:ext cx="2346037" cy="868218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238299" sx="103641" sy="103641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2"/>
                </a:solidFill>
              </a:rPr>
              <a:t>IDE Plugin for Code Generation</a:t>
            </a:r>
          </a:p>
        </p:txBody>
      </p:sp>
      <p:sp>
        <p:nvSpPr>
          <p:cNvPr id="7" name="Round Diagonal Corner of Rectangle 5">
            <a:extLst>
              <a:ext uri="{FF2B5EF4-FFF2-40B4-BE49-F238E27FC236}">
                <a16:creationId xmlns:a16="http://schemas.microsoft.com/office/drawing/2014/main" id="{E5920727-5197-B568-F4AF-DD31A1C314AA}"/>
              </a:ext>
            </a:extLst>
          </p:cNvPr>
          <p:cNvSpPr/>
          <p:nvPr/>
        </p:nvSpPr>
        <p:spPr>
          <a:xfrm>
            <a:off x="924677" y="4005926"/>
            <a:ext cx="2346037" cy="868218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238299" sx="103641" sy="103641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2"/>
                </a:solidFill>
              </a:rPr>
              <a:t>Synthetic data generator</a:t>
            </a:r>
          </a:p>
        </p:txBody>
      </p:sp>
      <p:sp>
        <p:nvSpPr>
          <p:cNvPr id="8" name="Round Diagonal Corner of Rectangle 6">
            <a:extLst>
              <a:ext uri="{FF2B5EF4-FFF2-40B4-BE49-F238E27FC236}">
                <a16:creationId xmlns:a16="http://schemas.microsoft.com/office/drawing/2014/main" id="{18A868F5-7A12-267B-7A36-22A888836B0D}"/>
              </a:ext>
            </a:extLst>
          </p:cNvPr>
          <p:cNvSpPr/>
          <p:nvPr/>
        </p:nvSpPr>
        <p:spPr>
          <a:xfrm>
            <a:off x="3579072" y="5091892"/>
            <a:ext cx="2346037" cy="868218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238299" sx="103641" sy="103641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2"/>
                </a:solidFill>
              </a:rPr>
              <a:t>AI for code refactoring </a:t>
            </a:r>
          </a:p>
        </p:txBody>
      </p:sp>
      <p:sp>
        <p:nvSpPr>
          <p:cNvPr id="9" name="Round Diagonal Corner of Rectangle 11">
            <a:extLst>
              <a:ext uri="{FF2B5EF4-FFF2-40B4-BE49-F238E27FC236}">
                <a16:creationId xmlns:a16="http://schemas.microsoft.com/office/drawing/2014/main" id="{DB671655-6DD9-4D01-67CC-F8FB6E5608CE}"/>
              </a:ext>
            </a:extLst>
          </p:cNvPr>
          <p:cNvSpPr/>
          <p:nvPr/>
        </p:nvSpPr>
        <p:spPr>
          <a:xfrm>
            <a:off x="924677" y="5091892"/>
            <a:ext cx="2346037" cy="868218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238299" sx="103641" sy="103641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2"/>
                </a:solidFill>
              </a:rPr>
              <a:t>Code Optimizer</a:t>
            </a:r>
          </a:p>
        </p:txBody>
      </p:sp>
      <p:sp>
        <p:nvSpPr>
          <p:cNvPr id="10" name="Round Diagonal Corner of Rectangle 12">
            <a:extLst>
              <a:ext uri="{FF2B5EF4-FFF2-40B4-BE49-F238E27FC236}">
                <a16:creationId xmlns:a16="http://schemas.microsoft.com/office/drawing/2014/main" id="{FAA3D81B-BC00-2D1B-D37D-2CDC2433BB49}"/>
              </a:ext>
            </a:extLst>
          </p:cNvPr>
          <p:cNvSpPr/>
          <p:nvPr/>
        </p:nvSpPr>
        <p:spPr>
          <a:xfrm>
            <a:off x="3579072" y="4006618"/>
            <a:ext cx="2346037" cy="868218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238299" sx="103641" sy="103641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2"/>
                </a:solidFill>
              </a:rPr>
              <a:t>Text to SQL Generation</a:t>
            </a:r>
          </a:p>
        </p:txBody>
      </p:sp>
      <p:sp>
        <p:nvSpPr>
          <p:cNvPr id="11" name="Round Diagonal Corner of Rectangle 14">
            <a:extLst>
              <a:ext uri="{FF2B5EF4-FFF2-40B4-BE49-F238E27FC236}">
                <a16:creationId xmlns:a16="http://schemas.microsoft.com/office/drawing/2014/main" id="{C5594FD2-A84D-87E8-8030-39025965E689}"/>
              </a:ext>
            </a:extLst>
          </p:cNvPr>
          <p:cNvSpPr/>
          <p:nvPr/>
        </p:nvSpPr>
        <p:spPr>
          <a:xfrm>
            <a:off x="3579072" y="2910182"/>
            <a:ext cx="2346037" cy="868218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238299" sx="103641" sy="103641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2"/>
                </a:solidFill>
              </a:rPr>
              <a:t>Legacy Code Analyzer</a:t>
            </a:r>
          </a:p>
        </p:txBody>
      </p:sp>
      <p:sp>
        <p:nvSpPr>
          <p:cNvPr id="12" name="Round Diagonal Corner of Rectangle 15">
            <a:extLst>
              <a:ext uri="{FF2B5EF4-FFF2-40B4-BE49-F238E27FC236}">
                <a16:creationId xmlns:a16="http://schemas.microsoft.com/office/drawing/2014/main" id="{DEC9390B-9B95-753C-1122-0C291858B8C3}"/>
              </a:ext>
            </a:extLst>
          </p:cNvPr>
          <p:cNvSpPr/>
          <p:nvPr/>
        </p:nvSpPr>
        <p:spPr>
          <a:xfrm>
            <a:off x="6249240" y="5091892"/>
            <a:ext cx="2346037" cy="868218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238299" sx="103641" sy="103641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2"/>
                </a:solidFill>
              </a:rPr>
              <a:t>Data Domain Generator</a:t>
            </a:r>
          </a:p>
        </p:txBody>
      </p:sp>
      <p:sp>
        <p:nvSpPr>
          <p:cNvPr id="13" name="Round Diagonal Corner of Rectangle 16">
            <a:extLst>
              <a:ext uri="{FF2B5EF4-FFF2-40B4-BE49-F238E27FC236}">
                <a16:creationId xmlns:a16="http://schemas.microsoft.com/office/drawing/2014/main" id="{19563D2A-39A5-CEEF-F6EE-441AC2326653}"/>
              </a:ext>
            </a:extLst>
          </p:cNvPr>
          <p:cNvSpPr/>
          <p:nvPr/>
        </p:nvSpPr>
        <p:spPr>
          <a:xfrm>
            <a:off x="6249240" y="4005926"/>
            <a:ext cx="2346037" cy="868218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238299" sx="103641" sy="103641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2"/>
                </a:solidFill>
              </a:rPr>
              <a:t>AIOps based self healing system</a:t>
            </a:r>
          </a:p>
        </p:txBody>
      </p:sp>
      <p:sp>
        <p:nvSpPr>
          <p:cNvPr id="14" name="Round Diagonal Corner of Rectangle 17">
            <a:extLst>
              <a:ext uri="{FF2B5EF4-FFF2-40B4-BE49-F238E27FC236}">
                <a16:creationId xmlns:a16="http://schemas.microsoft.com/office/drawing/2014/main" id="{3FE8E6AB-DF26-1ECD-4890-346A72BFAA1F}"/>
              </a:ext>
            </a:extLst>
          </p:cNvPr>
          <p:cNvSpPr/>
          <p:nvPr/>
        </p:nvSpPr>
        <p:spPr>
          <a:xfrm>
            <a:off x="6249240" y="2910182"/>
            <a:ext cx="2346037" cy="868218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238299" sx="103641" sy="103641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2"/>
                </a:solidFill>
              </a:rPr>
              <a:t>Legacy Test Case Generator</a:t>
            </a:r>
          </a:p>
        </p:txBody>
      </p:sp>
      <p:sp>
        <p:nvSpPr>
          <p:cNvPr id="15" name="Round Diagonal Corner of Rectangle 18">
            <a:extLst>
              <a:ext uri="{FF2B5EF4-FFF2-40B4-BE49-F238E27FC236}">
                <a16:creationId xmlns:a16="http://schemas.microsoft.com/office/drawing/2014/main" id="{665824BE-3EB3-6552-3E4E-03C7C623A4F9}"/>
              </a:ext>
            </a:extLst>
          </p:cNvPr>
          <p:cNvSpPr/>
          <p:nvPr/>
        </p:nvSpPr>
        <p:spPr>
          <a:xfrm>
            <a:off x="6249240" y="1836249"/>
            <a:ext cx="2346037" cy="868218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238299" sx="103641" sy="103641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2"/>
                </a:solidFill>
              </a:rPr>
              <a:t>User Story Generator </a:t>
            </a:r>
          </a:p>
        </p:txBody>
      </p:sp>
      <p:sp>
        <p:nvSpPr>
          <p:cNvPr id="16" name="Round Diagonal Corner of Rectangle 19">
            <a:extLst>
              <a:ext uri="{FF2B5EF4-FFF2-40B4-BE49-F238E27FC236}">
                <a16:creationId xmlns:a16="http://schemas.microsoft.com/office/drawing/2014/main" id="{70B1B445-1E13-31B5-37CC-896B962D0167}"/>
              </a:ext>
            </a:extLst>
          </p:cNvPr>
          <p:cNvSpPr/>
          <p:nvPr/>
        </p:nvSpPr>
        <p:spPr>
          <a:xfrm>
            <a:off x="3579071" y="1837370"/>
            <a:ext cx="2346037" cy="868218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238299" sx="103641" sy="103641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2"/>
                </a:solidFill>
              </a:rPr>
              <a:t>Feature File Generator</a:t>
            </a:r>
          </a:p>
        </p:txBody>
      </p:sp>
      <p:sp>
        <p:nvSpPr>
          <p:cNvPr id="17" name="Round Diagonal Corner of Rectangle 20">
            <a:extLst>
              <a:ext uri="{FF2B5EF4-FFF2-40B4-BE49-F238E27FC236}">
                <a16:creationId xmlns:a16="http://schemas.microsoft.com/office/drawing/2014/main" id="{A98C4F5E-1952-A7F4-C5D6-F31E8252B3DC}"/>
              </a:ext>
            </a:extLst>
          </p:cNvPr>
          <p:cNvSpPr/>
          <p:nvPr/>
        </p:nvSpPr>
        <p:spPr>
          <a:xfrm>
            <a:off x="8919410" y="5091903"/>
            <a:ext cx="2346037" cy="868207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238299" sx="103641" sy="103641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2"/>
                </a:solidFill>
              </a:rPr>
              <a:t>Code Complexity Calculator</a:t>
            </a:r>
          </a:p>
        </p:txBody>
      </p:sp>
      <p:sp>
        <p:nvSpPr>
          <p:cNvPr id="18" name="Round Diagonal Corner of Rectangle 21">
            <a:extLst>
              <a:ext uri="{FF2B5EF4-FFF2-40B4-BE49-F238E27FC236}">
                <a16:creationId xmlns:a16="http://schemas.microsoft.com/office/drawing/2014/main" id="{C3BE08FA-1713-E279-3AED-AFF470081791}"/>
              </a:ext>
            </a:extLst>
          </p:cNvPr>
          <p:cNvSpPr/>
          <p:nvPr/>
        </p:nvSpPr>
        <p:spPr>
          <a:xfrm>
            <a:off x="8919410" y="4005926"/>
            <a:ext cx="2346037" cy="868218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238299" sx="103641" sy="103641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err="1">
                <a:solidFill>
                  <a:schemeClr val="tx2"/>
                </a:solidFill>
              </a:rPr>
              <a:t>IaC</a:t>
            </a:r>
            <a:r>
              <a:rPr lang="en-US">
                <a:solidFill>
                  <a:schemeClr val="tx2"/>
                </a:solidFill>
              </a:rPr>
              <a:t> Plugin</a:t>
            </a:r>
          </a:p>
        </p:txBody>
      </p:sp>
      <p:sp>
        <p:nvSpPr>
          <p:cNvPr id="19" name="Round Diagonal Corner of Rectangle 22">
            <a:extLst>
              <a:ext uri="{FF2B5EF4-FFF2-40B4-BE49-F238E27FC236}">
                <a16:creationId xmlns:a16="http://schemas.microsoft.com/office/drawing/2014/main" id="{78572B6A-722E-F544-A02D-A1F08A247813}"/>
              </a:ext>
            </a:extLst>
          </p:cNvPr>
          <p:cNvSpPr/>
          <p:nvPr/>
        </p:nvSpPr>
        <p:spPr>
          <a:xfrm>
            <a:off x="8919410" y="2910182"/>
            <a:ext cx="2346037" cy="868218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238299" sx="103641" sy="103641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2"/>
                </a:solidFill>
              </a:rPr>
              <a:t>Test Script Generator</a:t>
            </a:r>
          </a:p>
        </p:txBody>
      </p:sp>
      <p:sp>
        <p:nvSpPr>
          <p:cNvPr id="20" name="Round Diagonal Corner of Rectangle 23">
            <a:extLst>
              <a:ext uri="{FF2B5EF4-FFF2-40B4-BE49-F238E27FC236}">
                <a16:creationId xmlns:a16="http://schemas.microsoft.com/office/drawing/2014/main" id="{F2D58337-7AA6-C53B-E69D-66C57836B76E}"/>
              </a:ext>
            </a:extLst>
          </p:cNvPr>
          <p:cNvSpPr/>
          <p:nvPr/>
        </p:nvSpPr>
        <p:spPr>
          <a:xfrm>
            <a:off x="8919410" y="1836070"/>
            <a:ext cx="2346037" cy="868218"/>
          </a:xfrm>
          <a:prstGeom prst="round2DiagRect">
            <a:avLst/>
          </a:prstGeom>
          <a:solidFill>
            <a:schemeClr val="bg1"/>
          </a:solidFill>
          <a:ln>
            <a:noFill/>
          </a:ln>
          <a:effectLst>
            <a:outerShdw blurRad="238299" sx="103641" sy="103641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2"/>
                </a:solidFill>
              </a:rPr>
              <a:t>Synthetic Data Generator</a:t>
            </a:r>
          </a:p>
        </p:txBody>
      </p:sp>
    </p:spTree>
    <p:extLst>
      <p:ext uri="{BB962C8B-B14F-4D97-AF65-F5344CB8AC3E}">
        <p14:creationId xmlns:p14="http://schemas.microsoft.com/office/powerpoint/2010/main" val="40681770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1C9DE0-7F6C-0B8C-37ED-6DA111A06C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269" y="0"/>
            <a:ext cx="10964368" cy="877896"/>
          </a:xfrm>
          <a:solidFill>
            <a:schemeClr val="tx2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Tx/>
              <a:buNone/>
              <a:tabLst/>
              <a:defRPr/>
            </a:pPr>
            <a:r>
              <a:rPr lang="en-US" sz="2600" dirty="0">
                <a:solidFill>
                  <a:schemeClr val="bg1"/>
                </a:solidFill>
                <a:latin typeface="+mn-lt"/>
              </a:rPr>
              <a:t> Development &amp; Testing Phase in SDLC</a:t>
            </a:r>
          </a:p>
        </p:txBody>
      </p:sp>
      <p:sp>
        <p:nvSpPr>
          <p:cNvPr id="38" name="Content Placeholder 37">
            <a:extLst>
              <a:ext uri="{FF2B5EF4-FFF2-40B4-BE49-F238E27FC236}">
                <a16:creationId xmlns:a16="http://schemas.microsoft.com/office/drawing/2014/main" id="{CACDB699-3FE4-A15E-E1A7-7E4486F7998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2799" y="932534"/>
            <a:ext cx="11303999" cy="5198266"/>
          </a:xfrm>
        </p:spPr>
        <p:txBody>
          <a:bodyPr/>
          <a:lstStyle/>
          <a:p>
            <a:r>
              <a:rPr lang="en-US" sz="1400" kern="0" dirty="0">
                <a:ea typeface="+mj-ea"/>
                <a:cs typeface="+mj-cs"/>
              </a:rPr>
              <a:t>To improve development productivity, Time to market, and reduced defect injection through Generative AI Accelerators</a:t>
            </a:r>
          </a:p>
          <a:p>
            <a:endParaRPr lang="en-IN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9CEA9C3-3DC3-8C19-14A7-9B6190CCB965}"/>
              </a:ext>
            </a:extLst>
          </p:cNvPr>
          <p:cNvGrpSpPr/>
          <p:nvPr/>
        </p:nvGrpSpPr>
        <p:grpSpPr>
          <a:xfrm>
            <a:off x="609439" y="1507730"/>
            <a:ext cx="10460261" cy="4803599"/>
            <a:chOff x="120694" y="2183906"/>
            <a:chExt cx="10429227" cy="8787924"/>
          </a:xfrm>
        </p:grpSpPr>
        <p:sp>
          <p:nvSpPr>
            <p:cNvPr id="5" name="Right Brace 4">
              <a:extLst>
                <a:ext uri="{FF2B5EF4-FFF2-40B4-BE49-F238E27FC236}">
                  <a16:creationId xmlns:a16="http://schemas.microsoft.com/office/drawing/2014/main" id="{AF72EEA6-437F-0DFD-0C7A-6E558C68712D}"/>
                </a:ext>
              </a:extLst>
            </p:cNvPr>
            <p:cNvSpPr/>
            <p:nvPr/>
          </p:nvSpPr>
          <p:spPr>
            <a:xfrm>
              <a:off x="6510566" y="2433700"/>
              <a:ext cx="471147" cy="8538128"/>
            </a:xfrm>
            <a:prstGeom prst="rightBrace">
              <a:avLst>
                <a:gd name="adj1" fmla="val 47699"/>
                <a:gd name="adj2" fmla="val 48953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6FB81A58-6BF4-6BBE-976B-320258D3CDCB}"/>
                </a:ext>
              </a:extLst>
            </p:cNvPr>
            <p:cNvSpPr/>
            <p:nvPr/>
          </p:nvSpPr>
          <p:spPr>
            <a:xfrm>
              <a:off x="120694" y="2235209"/>
              <a:ext cx="2814221" cy="7928099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/>
                <a:t>Development &amp; Testing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A9BA8C2A-357E-A001-7B59-D7978AA31DA3}"/>
                </a:ext>
              </a:extLst>
            </p:cNvPr>
            <p:cNvSpPr/>
            <p:nvPr/>
          </p:nvSpPr>
          <p:spPr>
            <a:xfrm>
              <a:off x="3711721" y="2183906"/>
              <a:ext cx="2814221" cy="498826"/>
            </a:xfrm>
            <a:prstGeom prst="roundRect">
              <a:avLst>
                <a:gd name="adj" fmla="val 27345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bg1"/>
                  </a:solidFill>
                </a:rPr>
                <a:t>Generate Code</a:t>
              </a: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979FAC14-B1A2-AD33-D895-A8A5B9992B8B}"/>
                </a:ext>
              </a:extLst>
            </p:cNvPr>
            <p:cNvSpPr/>
            <p:nvPr/>
          </p:nvSpPr>
          <p:spPr>
            <a:xfrm>
              <a:off x="3726785" y="2862663"/>
              <a:ext cx="2814221" cy="754010"/>
            </a:xfrm>
            <a:prstGeom prst="roundRect">
              <a:avLst>
                <a:gd name="adj" fmla="val 27345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 dirty="0">
                  <a:solidFill>
                    <a:srgbClr val="FFFFFF"/>
                  </a:solidFill>
                  <a:ea typeface="+mn-ea"/>
                  <a:cs typeface="+mn-cs"/>
                </a:rPr>
                <a:t>Explain Code </a:t>
              </a:r>
            </a:p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 dirty="0">
                  <a:solidFill>
                    <a:srgbClr val="FFFFFF"/>
                  </a:solidFill>
                  <a:ea typeface="+mn-ea"/>
                  <a:cs typeface="+mn-cs"/>
                </a:rPr>
                <a:t>(Legacy Code Explanation)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BEA3E1C-5018-7996-9D32-79AF55991A4C}"/>
                </a:ext>
              </a:extLst>
            </p:cNvPr>
            <p:cNvSpPr/>
            <p:nvPr/>
          </p:nvSpPr>
          <p:spPr>
            <a:xfrm>
              <a:off x="3740319" y="3726079"/>
              <a:ext cx="2814221" cy="753746"/>
            </a:xfrm>
            <a:prstGeom prst="roundRect">
              <a:avLst>
                <a:gd name="adj" fmla="val 27345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/>
                  </a:solidFill>
                </a:rPr>
                <a:t>Code Optimization</a:t>
              </a:r>
              <a:endParaRPr lang="en-GB" sz="1200" kern="1200" dirty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cxnSp>
          <p:nvCxnSpPr>
            <p:cNvPr id="11" name="Connector: Curved 10">
              <a:extLst>
                <a:ext uri="{FF2B5EF4-FFF2-40B4-BE49-F238E27FC236}">
                  <a16:creationId xmlns:a16="http://schemas.microsoft.com/office/drawing/2014/main" id="{1CC49458-437C-BB6C-1F10-0B17578EB77E}"/>
                </a:ext>
              </a:extLst>
            </p:cNvPr>
            <p:cNvCxnSpPr>
              <a:cxnSpLocks/>
              <a:stCxn id="7" idx="1"/>
              <a:endCxn id="43" idx="1"/>
            </p:cNvCxnSpPr>
            <p:nvPr/>
          </p:nvCxnSpPr>
          <p:spPr>
            <a:xfrm rot="10800000" flipH="1" flipV="1">
              <a:off x="3711720" y="2433318"/>
              <a:ext cx="17860" cy="8538512"/>
            </a:xfrm>
            <a:prstGeom prst="curvedConnector3">
              <a:avLst>
                <a:gd name="adj1" fmla="val -1276168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CC7AE6C-3142-04AA-A038-870470B81F5D}"/>
                </a:ext>
              </a:extLst>
            </p:cNvPr>
            <p:cNvCxnSpPr>
              <a:cxnSpLocks/>
            </p:cNvCxnSpPr>
            <p:nvPr/>
          </p:nvCxnSpPr>
          <p:spPr>
            <a:xfrm>
              <a:off x="2776968" y="6378178"/>
              <a:ext cx="71929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6333F3BE-A44E-9380-07BC-50C2885DB1BD}"/>
                </a:ext>
              </a:extLst>
            </p:cNvPr>
            <p:cNvSpPr/>
            <p:nvPr/>
          </p:nvSpPr>
          <p:spPr>
            <a:xfrm>
              <a:off x="7009156" y="2198146"/>
              <a:ext cx="3540765" cy="8214577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r>
                <a:rPr lang="en-US" b="1" dirty="0"/>
                <a:t>Challenges</a:t>
              </a:r>
            </a:p>
            <a:p>
              <a:pPr algn="ctr"/>
              <a:endParaRPr lang="en-US" b="1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Manual coding &amp; debugging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Manual Test cases and Test Data generation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Maintain the code quality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Legacy code inefficiency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Lack of automation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Repetitive manual step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chemeClr val="bg1"/>
                </a:solidFill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GB" sz="1200" dirty="0"/>
            </a:p>
          </p:txBody>
        </p:sp>
      </p:grp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3A641448-4D4B-F1DC-84BF-F79CDEDAD1B1}"/>
              </a:ext>
            </a:extLst>
          </p:cNvPr>
          <p:cNvSpPr txBox="1">
            <a:spLocks/>
          </p:cNvSpPr>
          <p:nvPr/>
        </p:nvSpPr>
        <p:spPr>
          <a:xfrm>
            <a:off x="318272" y="1219939"/>
            <a:ext cx="11403855" cy="52087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6" indent="-228606" algn="l" defTabSz="914422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231F20"/>
                </a:solidFill>
                <a:latin typeface="+mn-lt"/>
                <a:ea typeface="+mn-ea"/>
                <a:cs typeface="+mn-cs"/>
              </a:defRPr>
            </a:lvl1pPr>
            <a:lvl2pPr marL="685817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Montserrat" panose="00000500000000000000" pitchFamily="2" charset="0"/>
              <a:buChar char="–"/>
              <a:defRPr sz="2400" kern="1200">
                <a:solidFill>
                  <a:srgbClr val="231F20"/>
                </a:solidFill>
                <a:latin typeface="+mn-lt"/>
                <a:ea typeface="+mn-ea"/>
                <a:cs typeface="+mn-cs"/>
              </a:defRPr>
            </a:lvl2pPr>
            <a:lvl3pPr marL="1143028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231F20"/>
                </a:solidFill>
                <a:latin typeface="+mn-lt"/>
                <a:ea typeface="+mn-ea"/>
                <a:cs typeface="+mn-cs"/>
              </a:defRPr>
            </a:lvl3pPr>
            <a:lvl4pPr marL="1600240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Montserrat" panose="00000500000000000000" pitchFamily="2" charset="0"/>
              <a:buChar char="◆"/>
              <a:defRPr sz="1801" kern="1200">
                <a:solidFill>
                  <a:srgbClr val="231F20"/>
                </a:solidFill>
                <a:latin typeface="+mn-lt"/>
                <a:ea typeface="+mn-ea"/>
                <a:cs typeface="+mn-cs"/>
              </a:defRPr>
            </a:lvl4pPr>
            <a:lvl5pPr marL="2057451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Montserrat" panose="00000500000000000000" pitchFamily="2" charset="0"/>
              <a:buChar char="–"/>
              <a:defRPr sz="1801" kern="1200">
                <a:solidFill>
                  <a:srgbClr val="231F20"/>
                </a:solidFill>
                <a:latin typeface="+mn-lt"/>
                <a:ea typeface="+mn-ea"/>
                <a:cs typeface="+mn-cs"/>
              </a:defRPr>
            </a:lvl5pPr>
            <a:lvl6pPr marL="2514664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1400" kern="0">
              <a:ea typeface="+mj-ea"/>
              <a:cs typeface="+mj-cs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CF543EB-83F6-D515-D934-80D0430EC8B3}"/>
              </a:ext>
            </a:extLst>
          </p:cNvPr>
          <p:cNvSpPr/>
          <p:nvPr/>
        </p:nvSpPr>
        <p:spPr>
          <a:xfrm>
            <a:off x="4256791" y="3221790"/>
            <a:ext cx="2814221" cy="370184"/>
          </a:xfrm>
          <a:prstGeom prst="roundRect">
            <a:avLst>
              <a:gd name="adj" fmla="val 27345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kern="1200">
                <a:solidFill>
                  <a:srgbClr val="FFFFFF"/>
                </a:solidFill>
                <a:ea typeface="+mn-ea"/>
                <a:cs typeface="+mn-cs"/>
              </a:rPr>
              <a:t>Insert C</a:t>
            </a:r>
            <a:r>
              <a:rPr lang="en-US" sz="1200">
                <a:solidFill>
                  <a:srgbClr val="FFFFFF"/>
                </a:solidFill>
              </a:rPr>
              <a:t>omments</a:t>
            </a:r>
            <a:endParaRPr lang="en-GB" sz="1200" kern="1200">
              <a:solidFill>
                <a:srgbClr val="FFFFFF"/>
              </a:solidFill>
              <a:ea typeface="+mn-ea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3BFBF52-8757-AE72-D317-59405AFE40E6}"/>
              </a:ext>
            </a:extLst>
          </p:cNvPr>
          <p:cNvSpPr/>
          <p:nvPr/>
        </p:nvSpPr>
        <p:spPr>
          <a:xfrm>
            <a:off x="4239835" y="3660976"/>
            <a:ext cx="2814221" cy="262172"/>
          </a:xfrm>
          <a:prstGeom prst="roundRect">
            <a:avLst>
              <a:gd name="adj" fmla="val 27345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>
                <a:solidFill>
                  <a:srgbClr val="FFFFFF"/>
                </a:solidFill>
                <a:ea typeface="+mn-ea"/>
                <a:cs typeface="+mn-cs"/>
              </a:rPr>
              <a:t>Mul</a:t>
            </a:r>
            <a:r>
              <a:rPr lang="en-GB" sz="1200">
                <a:solidFill>
                  <a:srgbClr val="FFFFFF"/>
                </a:solidFill>
              </a:rPr>
              <a:t>ti LLM Support</a:t>
            </a:r>
            <a:endParaRPr lang="en-GB" sz="1200" kern="1200">
              <a:solidFill>
                <a:srgbClr val="FFFFFF"/>
              </a:solidFill>
              <a:ea typeface="+mn-ea"/>
              <a:cs typeface="+mn-cs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771A7687-6795-7BC2-A0F7-AFD72DBFB5B1}"/>
              </a:ext>
            </a:extLst>
          </p:cNvPr>
          <p:cNvSpPr/>
          <p:nvPr/>
        </p:nvSpPr>
        <p:spPr>
          <a:xfrm>
            <a:off x="4256791" y="4464093"/>
            <a:ext cx="2814221" cy="325206"/>
          </a:xfrm>
          <a:prstGeom prst="roundRect">
            <a:avLst>
              <a:gd name="adj" fmla="val 27345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>
                <a:solidFill>
                  <a:srgbClr val="FFFFFF"/>
                </a:solidFill>
                <a:ea typeface="+mn-ea"/>
                <a:cs typeface="+mn-cs"/>
              </a:rPr>
              <a:t>Generate Test Cases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575DB9E8-C667-C3D1-0FBA-CB4C292705ED}"/>
              </a:ext>
            </a:extLst>
          </p:cNvPr>
          <p:cNvSpPr/>
          <p:nvPr/>
        </p:nvSpPr>
        <p:spPr>
          <a:xfrm>
            <a:off x="4248209" y="4841964"/>
            <a:ext cx="2814221" cy="419279"/>
          </a:xfrm>
          <a:prstGeom prst="roundRect">
            <a:avLst>
              <a:gd name="adj" fmla="val 27345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>
                <a:solidFill>
                  <a:srgbClr val="FFFFFF"/>
                </a:solidFill>
                <a:ea typeface="+mn-ea"/>
                <a:cs typeface="+mn-cs"/>
              </a:rPr>
              <a:t>Generate Test Data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4BF6821F-A9B4-6D27-5573-C183B61A2232}"/>
              </a:ext>
            </a:extLst>
          </p:cNvPr>
          <p:cNvSpPr/>
          <p:nvPr/>
        </p:nvSpPr>
        <p:spPr>
          <a:xfrm>
            <a:off x="4229064" y="5315255"/>
            <a:ext cx="2814221" cy="412008"/>
          </a:xfrm>
          <a:prstGeom prst="roundRect">
            <a:avLst>
              <a:gd name="adj" fmla="val 27345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>
                <a:solidFill>
                  <a:srgbClr val="FFFFFF"/>
                </a:solidFill>
                <a:ea typeface="+mn-ea"/>
                <a:cs typeface="+mn-cs"/>
              </a:rPr>
              <a:t>Text2SQL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DACA30A6-EE3D-A886-EC76-5134711BD088}"/>
              </a:ext>
            </a:extLst>
          </p:cNvPr>
          <p:cNvSpPr/>
          <p:nvPr/>
        </p:nvSpPr>
        <p:spPr>
          <a:xfrm>
            <a:off x="4239835" y="5819113"/>
            <a:ext cx="2814221" cy="272665"/>
          </a:xfrm>
          <a:prstGeom prst="roundRect">
            <a:avLst>
              <a:gd name="adj" fmla="val 27345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 dirty="0">
                <a:solidFill>
                  <a:srgbClr val="FFFFFF"/>
                </a:solidFill>
                <a:ea typeface="+mn-ea"/>
                <a:cs typeface="+mn-cs"/>
              </a:rPr>
              <a:t>Explain SQL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7E3DE102-C271-645F-7AC9-D41C7691F3C9}"/>
              </a:ext>
            </a:extLst>
          </p:cNvPr>
          <p:cNvSpPr/>
          <p:nvPr/>
        </p:nvSpPr>
        <p:spPr>
          <a:xfrm>
            <a:off x="4229065" y="6174997"/>
            <a:ext cx="2814221" cy="272665"/>
          </a:xfrm>
          <a:prstGeom prst="roundRect">
            <a:avLst>
              <a:gd name="adj" fmla="val 27345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>
                <a:solidFill>
                  <a:srgbClr val="FFFFFF"/>
                </a:solidFill>
                <a:ea typeface="+mn-ea"/>
                <a:cs typeface="+mn-cs"/>
              </a:rPr>
              <a:t>Fix SQL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5E151EC1-8E5A-50EF-2685-F4203A27F3F7}"/>
              </a:ext>
            </a:extLst>
          </p:cNvPr>
          <p:cNvSpPr/>
          <p:nvPr/>
        </p:nvSpPr>
        <p:spPr>
          <a:xfrm>
            <a:off x="4271465" y="4011187"/>
            <a:ext cx="2814221" cy="350985"/>
          </a:xfrm>
          <a:prstGeom prst="roundRect">
            <a:avLst>
              <a:gd name="adj" fmla="val 27345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>
                <a:solidFill>
                  <a:srgbClr val="FFFFFF"/>
                </a:solidFill>
              </a:rPr>
              <a:t>Language Preference</a:t>
            </a:r>
            <a:endParaRPr lang="en-GB" sz="1200" kern="1200">
              <a:solidFill>
                <a:srgbClr val="FFFFFF"/>
              </a:solidFill>
              <a:ea typeface="+mn-ea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B653A92-9B88-3A75-A94A-B9A6B7C024DE}"/>
              </a:ext>
            </a:extLst>
          </p:cNvPr>
          <p:cNvSpPr/>
          <p:nvPr/>
        </p:nvSpPr>
        <p:spPr>
          <a:xfrm>
            <a:off x="4271465" y="2816758"/>
            <a:ext cx="2814221" cy="350985"/>
          </a:xfrm>
          <a:prstGeom prst="roundRect">
            <a:avLst>
              <a:gd name="adj" fmla="val 27345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kern="1200">
                <a:solidFill>
                  <a:srgbClr val="FFFFFF"/>
                </a:solidFill>
                <a:ea typeface="+mn-ea"/>
                <a:cs typeface="+mn-cs"/>
              </a:rPr>
              <a:t>Code Review</a:t>
            </a:r>
          </a:p>
        </p:txBody>
      </p:sp>
    </p:spTree>
    <p:extLst>
      <p:ext uri="{BB962C8B-B14F-4D97-AF65-F5344CB8AC3E}">
        <p14:creationId xmlns:p14="http://schemas.microsoft.com/office/powerpoint/2010/main" val="39143469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19D3A0-B0DD-30A7-745B-1A0B9A8DDA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571C53-11C0-2BC0-A25A-8CD5C0C4E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339" y="0"/>
            <a:ext cx="10964368" cy="703113"/>
          </a:xfrm>
          <a:solidFill>
            <a:schemeClr val="tx2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Tx/>
              <a:buNone/>
              <a:tabLst/>
              <a:defRPr/>
            </a:pPr>
            <a:r>
              <a:rPr lang="en-US" sz="2600">
                <a:solidFill>
                  <a:schemeClr val="bg1"/>
                </a:solidFill>
                <a:latin typeface="+mn-lt"/>
              </a:rPr>
              <a:t> CORA Code GenY Available Features </a:t>
            </a:r>
          </a:p>
        </p:txBody>
      </p:sp>
      <p:sp>
        <p:nvSpPr>
          <p:cNvPr id="38" name="Content Placeholder 37">
            <a:extLst>
              <a:ext uri="{FF2B5EF4-FFF2-40B4-BE49-F238E27FC236}">
                <a16:creationId xmlns:a16="http://schemas.microsoft.com/office/drawing/2014/main" id="{6CAF2F46-1717-F833-B12A-EEC7D707E13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2799" y="783771"/>
            <a:ext cx="11303999" cy="5347029"/>
          </a:xfrm>
        </p:spPr>
        <p:txBody>
          <a:bodyPr/>
          <a:lstStyle/>
          <a:p>
            <a:r>
              <a:rPr lang="en-US" sz="1400" kern="0">
                <a:ea typeface="+mj-ea"/>
                <a:cs typeface="+mj-cs"/>
              </a:rPr>
              <a:t>To improve development productivity, Time to market, and reduced defect injection through Generative AI- Accelerators</a:t>
            </a:r>
          </a:p>
          <a:p>
            <a:endParaRPr lang="en-IN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FBE85AF-B680-7216-1D35-24E69C59F81B}"/>
              </a:ext>
            </a:extLst>
          </p:cNvPr>
          <p:cNvSpPr txBox="1"/>
          <p:nvPr/>
        </p:nvSpPr>
        <p:spPr>
          <a:xfrm>
            <a:off x="2282371" y="1074487"/>
            <a:ext cx="5386178" cy="64633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b="1"/>
              <a:t>Leveraging Gen AI's capabilities</a:t>
            </a:r>
          </a:p>
          <a:p>
            <a:pPr algn="ctr"/>
            <a:endParaRPr lang="en-GB" b="1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E6AF33CC-6BE1-B8D0-E265-73B74B04F1B3}"/>
              </a:ext>
            </a:extLst>
          </p:cNvPr>
          <p:cNvSpPr txBox="1">
            <a:spLocks/>
          </p:cNvSpPr>
          <p:nvPr/>
        </p:nvSpPr>
        <p:spPr>
          <a:xfrm>
            <a:off x="-401554" y="6363087"/>
            <a:ext cx="11276805" cy="215444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1pPr>
            <a:lvl2pPr marL="252000" indent="-25200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■"/>
              <a:defRPr lang="en-US" sz="1400" b="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2pPr>
            <a:lvl3pPr marL="504000" indent="-252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  <a:defRPr lang="en-US" sz="1200" kern="1200" dirty="0">
                <a:solidFill>
                  <a:schemeClr val="tx2"/>
                </a:solidFill>
                <a:latin typeface="+mn-lt"/>
                <a:ea typeface="Cambria" panose="02040503050406030204" pitchFamily="18" charset="0"/>
                <a:cs typeface="Calibri" panose="020F0502020204030204" pitchFamily="34" charset="0"/>
              </a:defRPr>
            </a:lvl3pPr>
            <a:lvl4pPr marL="756000" indent="-252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1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lang="en-GB" sz="1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i="1">
                <a:solidFill>
                  <a:schemeClr val="tx1"/>
                </a:solidFill>
                <a:ea typeface="ＭＳ Ｐゴシック"/>
                <a:cs typeface="+mn-cs"/>
              </a:rPr>
              <a:t> Generative AI can contribute 30-40% productivity improvement for Application Development  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FD968A-35E1-5817-DFD8-F14FE9950BDD}"/>
              </a:ext>
            </a:extLst>
          </p:cNvPr>
          <p:cNvGrpSpPr/>
          <p:nvPr/>
        </p:nvGrpSpPr>
        <p:grpSpPr>
          <a:xfrm>
            <a:off x="206664" y="4160193"/>
            <a:ext cx="7817622" cy="2125056"/>
            <a:chOff x="2586894" y="1527235"/>
            <a:chExt cx="8033282" cy="2385686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F9FC879-8FB7-D5E4-D9D4-A0E7EB645BAE}"/>
                </a:ext>
              </a:extLst>
            </p:cNvPr>
            <p:cNvGrpSpPr/>
            <p:nvPr/>
          </p:nvGrpSpPr>
          <p:grpSpPr>
            <a:xfrm>
              <a:off x="2586894" y="1543541"/>
              <a:ext cx="6097553" cy="2369380"/>
              <a:chOff x="5901241" y="373843"/>
              <a:chExt cx="6063493" cy="2566185"/>
            </a:xfrm>
          </p:grpSpPr>
          <p:grpSp>
            <p:nvGrpSpPr>
              <p:cNvPr id="21" name="Group 3">
                <a:extLst>
                  <a:ext uri="{FF2B5EF4-FFF2-40B4-BE49-F238E27FC236}">
                    <a16:creationId xmlns:a16="http://schemas.microsoft.com/office/drawing/2014/main" id="{E19C56E1-125B-C076-891D-D0937E4315FB}"/>
                  </a:ext>
                </a:extLst>
              </p:cNvPr>
              <p:cNvGrpSpPr/>
              <p:nvPr/>
            </p:nvGrpSpPr>
            <p:grpSpPr>
              <a:xfrm>
                <a:off x="5901241" y="373847"/>
                <a:ext cx="2132177" cy="905347"/>
                <a:chOff x="0" y="-1763016"/>
                <a:chExt cx="2590990" cy="660400"/>
              </a:xfrm>
              <a:solidFill>
                <a:schemeClr val="accent4"/>
              </a:solidFill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33" name="Freeform 4">
                  <a:extLst>
                    <a:ext uri="{FF2B5EF4-FFF2-40B4-BE49-F238E27FC236}">
                      <a16:creationId xmlns:a16="http://schemas.microsoft.com/office/drawing/2014/main" id="{511BA58B-8A6D-9188-64E3-12EB1442A132}"/>
                    </a:ext>
                  </a:extLst>
                </p:cNvPr>
                <p:cNvSpPr/>
                <p:nvPr/>
              </p:nvSpPr>
              <p:spPr>
                <a:xfrm>
                  <a:off x="0" y="-1763016"/>
                  <a:ext cx="2590990" cy="660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90990" h="660400">
                      <a:moveTo>
                        <a:pt x="2466530" y="660400"/>
                      </a:moveTo>
                      <a:lnTo>
                        <a:pt x="124460" y="660400"/>
                      </a:lnTo>
                      <a:cubicBezTo>
                        <a:pt x="55880" y="660400"/>
                        <a:pt x="0" y="604520"/>
                        <a:pt x="0" y="535940"/>
                      </a:cubicBezTo>
                      <a:lnTo>
                        <a:pt x="0" y="124460"/>
                      </a:lnTo>
                      <a:cubicBezTo>
                        <a:pt x="0" y="55880"/>
                        <a:pt x="55880" y="0"/>
                        <a:pt x="124460" y="0"/>
                      </a:cubicBezTo>
                      <a:lnTo>
                        <a:pt x="2466530" y="0"/>
                      </a:lnTo>
                      <a:cubicBezTo>
                        <a:pt x="2535110" y="0"/>
                        <a:pt x="2590990" y="55880"/>
                        <a:pt x="2590990" y="124460"/>
                      </a:cubicBezTo>
                      <a:lnTo>
                        <a:pt x="2590990" y="535940"/>
                      </a:lnTo>
                      <a:cubicBezTo>
                        <a:pt x="2590990" y="604520"/>
                        <a:pt x="2535110" y="660400"/>
                        <a:pt x="2466530" y="660400"/>
                      </a:cubicBezTo>
                      <a:close/>
                    </a:path>
                  </a:pathLst>
                </a:custGeom>
                <a:grpFill/>
                <a:ln>
                  <a:solidFill>
                    <a:schemeClr val="tx1"/>
                  </a:solidFill>
                </a:ln>
              </p:spPr>
              <p:txBody>
                <a:bodyPr anchor="ctr"/>
                <a:lstStyle/>
                <a:p>
                  <a:pPr algn="ctr"/>
                  <a:r>
                    <a:rPr lang="en-IN" sz="1400" b="1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ea typeface="Times New Roman" panose="02020603050405020304" pitchFamily="18" charset="0"/>
                    </a:rPr>
                    <a:t>Language Preference</a:t>
                  </a:r>
                </a:p>
              </p:txBody>
            </p:sp>
          </p:grpSp>
          <p:sp>
            <p:nvSpPr>
              <p:cNvPr id="32" name="Freeform 6">
                <a:extLst>
                  <a:ext uri="{FF2B5EF4-FFF2-40B4-BE49-F238E27FC236}">
                    <a16:creationId xmlns:a16="http://schemas.microsoft.com/office/drawing/2014/main" id="{D145EF01-C006-9317-2163-876B9780078C}"/>
                  </a:ext>
                </a:extLst>
              </p:cNvPr>
              <p:cNvSpPr/>
              <p:nvPr/>
            </p:nvSpPr>
            <p:spPr>
              <a:xfrm>
                <a:off x="8003448" y="388205"/>
                <a:ext cx="1963880" cy="905347"/>
              </a:xfrm>
              <a:custGeom>
                <a:avLst/>
                <a:gdLst/>
                <a:ahLst/>
                <a:cxnLst/>
                <a:rect l="l" t="t" r="r" b="b"/>
                <a:pathLst>
                  <a:path w="2590990" h="660400">
                    <a:moveTo>
                      <a:pt x="2466530" y="660400"/>
                    </a:moveTo>
                    <a:lnTo>
                      <a:pt x="124460" y="660400"/>
                    </a:lnTo>
                    <a:cubicBezTo>
                      <a:pt x="55880" y="660400"/>
                      <a:pt x="0" y="604520"/>
                      <a:pt x="0" y="535940"/>
                    </a:cubicBezTo>
                    <a:lnTo>
                      <a:pt x="0" y="124460"/>
                    </a:lnTo>
                    <a:cubicBezTo>
                      <a:pt x="0" y="55880"/>
                      <a:pt x="55880" y="0"/>
                      <a:pt x="124460" y="0"/>
                    </a:cubicBezTo>
                    <a:lnTo>
                      <a:pt x="2466530" y="0"/>
                    </a:lnTo>
                    <a:cubicBezTo>
                      <a:pt x="2535110" y="0"/>
                      <a:pt x="2590990" y="55880"/>
                      <a:pt x="2590990" y="124460"/>
                    </a:cubicBezTo>
                    <a:lnTo>
                      <a:pt x="2590990" y="535940"/>
                    </a:lnTo>
                    <a:cubicBezTo>
                      <a:pt x="2590990" y="604520"/>
                      <a:pt x="2535110" y="660400"/>
                      <a:pt x="2466530" y="660400"/>
                    </a:cubicBez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anchor="ctr"/>
              <a:lstStyle/>
              <a:p>
                <a:pPr algn="ctr"/>
                <a:r>
                  <a:rPr lang="en-IN" sz="1400" b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Generate Test Case</a:t>
                </a:r>
              </a:p>
            </p:txBody>
          </p:sp>
          <p:grpSp>
            <p:nvGrpSpPr>
              <p:cNvPr id="23" name="Group 7">
                <a:extLst>
                  <a:ext uri="{FF2B5EF4-FFF2-40B4-BE49-F238E27FC236}">
                    <a16:creationId xmlns:a16="http://schemas.microsoft.com/office/drawing/2014/main" id="{BAF2295A-2018-4A13-97CC-1F43FE1E3EFF}"/>
                  </a:ext>
                </a:extLst>
              </p:cNvPr>
              <p:cNvGrpSpPr/>
              <p:nvPr/>
            </p:nvGrpSpPr>
            <p:grpSpPr>
              <a:xfrm>
                <a:off x="9832557" y="373843"/>
                <a:ext cx="2132177" cy="905347"/>
                <a:chOff x="0" y="-1763020"/>
                <a:chExt cx="2590990" cy="660400"/>
              </a:xfrm>
              <a:solidFill>
                <a:schemeClr val="accent1">
                  <a:lumMod val="75000"/>
                </a:schemeClr>
              </a:solidFill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30" name="Freeform 8">
                  <a:extLst>
                    <a:ext uri="{FF2B5EF4-FFF2-40B4-BE49-F238E27FC236}">
                      <a16:creationId xmlns:a16="http://schemas.microsoft.com/office/drawing/2014/main" id="{E9428875-7924-31F3-4E73-C8697680C9A0}"/>
                    </a:ext>
                  </a:extLst>
                </p:cNvPr>
                <p:cNvSpPr/>
                <p:nvPr/>
              </p:nvSpPr>
              <p:spPr>
                <a:xfrm>
                  <a:off x="0" y="-1763020"/>
                  <a:ext cx="2590990" cy="660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90990" h="660400">
                      <a:moveTo>
                        <a:pt x="2466530" y="660400"/>
                      </a:moveTo>
                      <a:lnTo>
                        <a:pt x="124460" y="660400"/>
                      </a:lnTo>
                      <a:cubicBezTo>
                        <a:pt x="55880" y="660400"/>
                        <a:pt x="0" y="604520"/>
                        <a:pt x="0" y="535940"/>
                      </a:cubicBezTo>
                      <a:lnTo>
                        <a:pt x="0" y="124460"/>
                      </a:lnTo>
                      <a:cubicBezTo>
                        <a:pt x="0" y="55880"/>
                        <a:pt x="55880" y="0"/>
                        <a:pt x="124460" y="0"/>
                      </a:cubicBezTo>
                      <a:lnTo>
                        <a:pt x="2466530" y="0"/>
                      </a:lnTo>
                      <a:cubicBezTo>
                        <a:pt x="2535110" y="0"/>
                        <a:pt x="2590990" y="55880"/>
                        <a:pt x="2590990" y="124460"/>
                      </a:cubicBezTo>
                      <a:lnTo>
                        <a:pt x="2590990" y="535940"/>
                      </a:lnTo>
                      <a:cubicBezTo>
                        <a:pt x="2590990" y="604520"/>
                        <a:pt x="2535110" y="660400"/>
                        <a:pt x="2466530" y="660400"/>
                      </a:cubicBezTo>
                      <a:close/>
                    </a:path>
                  </a:pathLst>
                </a:custGeom>
                <a:grpFill/>
                <a:ln>
                  <a:solidFill>
                    <a:schemeClr val="tx1"/>
                  </a:solidFill>
                </a:ln>
              </p:spPr>
              <p:txBody>
                <a:bodyPr anchor="ctr"/>
                <a:lstStyle/>
                <a:p>
                  <a:pPr algn="ctr"/>
                  <a:r>
                    <a:rPr lang="en-US" sz="1400" b="1" dirty="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rPr>
                    <a:t>Generate Test Data</a:t>
                  </a:r>
                </a:p>
              </p:txBody>
            </p:sp>
          </p:grpSp>
          <p:cxnSp>
            <p:nvCxnSpPr>
              <p:cNvPr id="24" name="Straight Arrow Connector 23">
                <a:extLst>
                  <a:ext uri="{FF2B5EF4-FFF2-40B4-BE49-F238E27FC236}">
                    <a16:creationId xmlns:a16="http://schemas.microsoft.com/office/drawing/2014/main" id="{EEFD98EF-9732-D234-98FA-123AAB87A0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900203" y="1261525"/>
                <a:ext cx="0" cy="426059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Arrow Connector 24">
                <a:extLst>
                  <a:ext uri="{FF2B5EF4-FFF2-40B4-BE49-F238E27FC236}">
                    <a16:creationId xmlns:a16="http://schemas.microsoft.com/office/drawing/2014/main" id="{E49836FB-9F6C-A8BF-7140-368E5E75CF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47121" y="1261525"/>
                <a:ext cx="0" cy="426059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Arrow Connector 25">
                <a:extLst>
                  <a:ext uri="{FF2B5EF4-FFF2-40B4-BE49-F238E27FC236}">
                    <a16:creationId xmlns:a16="http://schemas.microsoft.com/office/drawing/2014/main" id="{06509C11-41D9-4DCC-3ED9-BBF34F4966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35801" y="1261525"/>
                <a:ext cx="0" cy="426059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Rectangle: Rounded Corners 26">
                <a:extLst>
                  <a:ext uri="{FF2B5EF4-FFF2-40B4-BE49-F238E27FC236}">
                    <a16:creationId xmlns:a16="http://schemas.microsoft.com/office/drawing/2014/main" id="{A5E3516F-2FB5-821E-C9CD-746B362F9325}"/>
                  </a:ext>
                </a:extLst>
              </p:cNvPr>
              <p:cNvSpPr/>
              <p:nvPr/>
            </p:nvSpPr>
            <p:spPr>
              <a:xfrm>
                <a:off x="6104227" y="1751307"/>
                <a:ext cx="1737360" cy="1188721"/>
              </a:xfrm>
              <a:prstGeom prst="roundRect">
                <a:avLst/>
              </a:prstGeom>
              <a:solidFill>
                <a:schemeClr val="accent3"/>
              </a:solidFill>
              <a:ln>
                <a:solidFill>
                  <a:schemeClr val="tx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r>
                  <a:rPr lang="en-GB" sz="1100" dirty="0">
                    <a:solidFill>
                      <a:schemeClr val="bg1"/>
                    </a:solidFill>
                  </a:rPr>
                  <a:t>Support for diverse range of programming languages</a:t>
                </a:r>
              </a:p>
            </p:txBody>
          </p:sp>
          <p:sp>
            <p:nvSpPr>
              <p:cNvPr id="28" name="Rectangle: Rounded Corners 27">
                <a:extLst>
                  <a:ext uri="{FF2B5EF4-FFF2-40B4-BE49-F238E27FC236}">
                    <a16:creationId xmlns:a16="http://schemas.microsoft.com/office/drawing/2014/main" id="{6C28D921-ACFE-C25F-ED5E-A23033FFAB8D}"/>
                  </a:ext>
                </a:extLst>
              </p:cNvPr>
              <p:cNvSpPr/>
              <p:nvPr/>
            </p:nvSpPr>
            <p:spPr>
              <a:xfrm>
                <a:off x="8069687" y="1739519"/>
                <a:ext cx="1737360" cy="1188721"/>
              </a:xfrm>
              <a:prstGeom prst="roundRect">
                <a:avLst/>
              </a:prstGeom>
              <a:solidFill>
                <a:schemeClr val="accent3"/>
              </a:solidFill>
              <a:ln>
                <a:solidFill>
                  <a:schemeClr val="tx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p:spPr>
            <p:txBody>
              <a:bodyPr lIns="91440" tIns="45720" rIns="91440" bIns="45720" anchor="ctr"/>
              <a:lstStyle/>
              <a:p>
                <a:r>
                  <a:rPr lang="en-US" sz="1100" dirty="0">
                    <a:solidFill>
                      <a:schemeClr val="bg1"/>
                    </a:solidFill>
                  </a:rPr>
                  <a:t>Automated test cases generation from the highlighted code input</a:t>
                </a:r>
              </a:p>
            </p:txBody>
          </p:sp>
          <p:sp>
            <p:nvSpPr>
              <p:cNvPr id="29" name="Rectangle: Rounded Corners 28">
                <a:extLst>
                  <a:ext uri="{FF2B5EF4-FFF2-40B4-BE49-F238E27FC236}">
                    <a16:creationId xmlns:a16="http://schemas.microsoft.com/office/drawing/2014/main" id="{A7477F38-2B74-DE06-669E-A13E7F35B38E}"/>
                  </a:ext>
                </a:extLst>
              </p:cNvPr>
              <p:cNvSpPr/>
              <p:nvPr/>
            </p:nvSpPr>
            <p:spPr>
              <a:xfrm>
                <a:off x="10034029" y="1739519"/>
                <a:ext cx="1737360" cy="1188721"/>
              </a:xfrm>
              <a:prstGeom prst="roundRect">
                <a:avLst/>
              </a:prstGeom>
              <a:solidFill>
                <a:schemeClr val="accent3"/>
              </a:solidFill>
              <a:ln>
                <a:solidFill>
                  <a:schemeClr val="tx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r>
                  <a:rPr lang="en-US" sz="1100">
                    <a:solidFill>
                      <a:schemeClr val="bg1"/>
                    </a:solidFill>
                  </a:rPr>
                  <a:t>Automated test data generation based on the highlighted code input</a:t>
                </a:r>
              </a:p>
            </p:txBody>
          </p:sp>
        </p:grpSp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947C4068-188C-B540-3B4E-D1C2A93F26F2}"/>
                </a:ext>
              </a:extLst>
            </p:cNvPr>
            <p:cNvSpPr/>
            <p:nvPr/>
          </p:nvSpPr>
          <p:spPr>
            <a:xfrm>
              <a:off x="8476022" y="1527235"/>
              <a:ext cx="2144154" cy="835911"/>
            </a:xfrm>
            <a:custGeom>
              <a:avLst/>
              <a:gdLst/>
              <a:ahLst/>
              <a:cxnLst/>
              <a:rect l="l" t="t" r="r" b="b"/>
              <a:pathLst>
                <a:path w="2590990" h="660400">
                  <a:moveTo>
                    <a:pt x="2466530" y="660400"/>
                  </a:moveTo>
                  <a:lnTo>
                    <a:pt x="124460" y="660400"/>
                  </a:lnTo>
                  <a:cubicBezTo>
                    <a:pt x="55880" y="660400"/>
                    <a:pt x="0" y="604520"/>
                    <a:pt x="0" y="535940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2466530" y="0"/>
                  </a:lnTo>
                  <a:cubicBezTo>
                    <a:pt x="2535110" y="0"/>
                    <a:pt x="2590990" y="55880"/>
                    <a:pt x="2590990" y="124460"/>
                  </a:cubicBezTo>
                  <a:lnTo>
                    <a:pt x="2590990" y="535940"/>
                  </a:lnTo>
                  <a:cubicBezTo>
                    <a:pt x="2590990" y="604520"/>
                    <a:pt x="2535110" y="660400"/>
                    <a:pt x="2466530" y="660400"/>
                  </a:cubicBezTo>
                  <a:close/>
                </a:path>
              </a:pathLst>
            </a:custGeom>
            <a:solidFill>
              <a:schemeClr val="accent4"/>
            </a:solidFill>
            <a:ln>
              <a:solidFill>
                <a:schemeClr val="tx1"/>
              </a:solidFill>
            </a:ln>
          </p:spPr>
          <p:txBody>
            <a:bodyPr lIns="91440" tIns="45720" rIns="91440" bIns="45720" anchor="ctr"/>
            <a:lstStyle/>
            <a:p>
              <a:pPr algn="ctr"/>
              <a:r>
                <a:rPr lang="en-IN" sz="14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Times New Roman" panose="02020603050405020304" pitchFamily="18" charset="0"/>
                </a:rPr>
                <a:t>Text2SQL</a:t>
              </a:r>
            </a:p>
          </p:txBody>
        </p: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60B42CEB-5F80-D134-7110-3752C3239E51}"/>
                </a:ext>
              </a:extLst>
            </p:cNvPr>
            <p:cNvCxnSpPr>
              <a:cxnSpLocks/>
            </p:cNvCxnSpPr>
            <p:nvPr/>
          </p:nvCxnSpPr>
          <p:spPr>
            <a:xfrm>
              <a:off x="9480595" y="2363145"/>
              <a:ext cx="0" cy="379242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8E03C31D-2B65-30E3-248F-145D7F6B1BBC}"/>
                </a:ext>
              </a:extLst>
            </p:cNvPr>
            <p:cNvSpPr/>
            <p:nvPr/>
          </p:nvSpPr>
          <p:spPr>
            <a:xfrm>
              <a:off x="8587325" y="2742387"/>
              <a:ext cx="1972602" cy="1165105"/>
            </a:xfrm>
            <a:prstGeom prst="roundRect">
              <a:avLst/>
            </a:prstGeom>
            <a:solidFill>
              <a:schemeClr val="accent3"/>
            </a:solidFill>
            <a:ln>
              <a:solidFill>
                <a:schemeClr val="tx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lIns="91440" tIns="45720" rIns="91440" bIns="45720" anchor="ctr"/>
            <a:lstStyle/>
            <a:p>
              <a:r>
                <a:rPr lang="en-US" sz="1100" dirty="0">
                  <a:solidFill>
                    <a:schemeClr val="bg1"/>
                  </a:solidFill>
                </a:rPr>
                <a:t>Transform Text into SQLs: </a:t>
              </a:r>
            </a:p>
            <a:p>
              <a:r>
                <a:rPr lang="en-US" sz="1100" dirty="0">
                  <a:solidFill>
                    <a:schemeClr val="bg1"/>
                  </a:solidFill>
                </a:rPr>
                <a:t>Provides explanations and fix/improve the complex queries</a:t>
              </a:r>
              <a:endParaRPr lang="en-GB" sz="1100" dirty="0">
                <a:solidFill>
                  <a:schemeClr val="bg1"/>
                </a:solidFill>
              </a:endParaRPr>
            </a:p>
          </p:txBody>
        </p:sp>
      </p:grpSp>
      <p:sp>
        <p:nvSpPr>
          <p:cNvPr id="34" name="Freeform 6">
            <a:extLst>
              <a:ext uri="{FF2B5EF4-FFF2-40B4-BE49-F238E27FC236}">
                <a16:creationId xmlns:a16="http://schemas.microsoft.com/office/drawing/2014/main" id="{86995972-9618-909E-1677-F69BCD20E9EE}"/>
              </a:ext>
            </a:extLst>
          </p:cNvPr>
          <p:cNvSpPr/>
          <p:nvPr/>
        </p:nvSpPr>
        <p:spPr>
          <a:xfrm>
            <a:off x="7972967" y="1607471"/>
            <a:ext cx="2144154" cy="835911"/>
          </a:xfrm>
          <a:custGeom>
            <a:avLst/>
            <a:gdLst/>
            <a:ahLst/>
            <a:cxnLst/>
            <a:rect l="l" t="t" r="r" b="b"/>
            <a:pathLst>
              <a:path w="2590990" h="660400">
                <a:moveTo>
                  <a:pt x="2466530" y="660400"/>
                </a:moveTo>
                <a:lnTo>
                  <a:pt x="124460" y="660400"/>
                </a:lnTo>
                <a:cubicBezTo>
                  <a:pt x="55880" y="660400"/>
                  <a:pt x="0" y="604520"/>
                  <a:pt x="0" y="535940"/>
                </a:cubicBezTo>
                <a:lnTo>
                  <a:pt x="0" y="124460"/>
                </a:lnTo>
                <a:cubicBezTo>
                  <a:pt x="0" y="55880"/>
                  <a:pt x="55880" y="0"/>
                  <a:pt x="124460" y="0"/>
                </a:cubicBezTo>
                <a:lnTo>
                  <a:pt x="2466530" y="0"/>
                </a:lnTo>
                <a:cubicBezTo>
                  <a:pt x="2535110" y="0"/>
                  <a:pt x="2590990" y="55880"/>
                  <a:pt x="2590990" y="124460"/>
                </a:cubicBezTo>
                <a:lnTo>
                  <a:pt x="2590990" y="535940"/>
                </a:lnTo>
                <a:cubicBezTo>
                  <a:pt x="2590990" y="604520"/>
                  <a:pt x="2535110" y="660400"/>
                  <a:pt x="2466530" y="660400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</p:spPr>
        <p:txBody>
          <a:bodyPr lIns="91440" tIns="45720" rIns="91440" bIns="45720" anchor="ctr"/>
          <a:lstStyle/>
          <a:p>
            <a:pPr algn="ctr"/>
            <a:r>
              <a:rPr lang="en-IN" sz="1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pport Multiple LLMs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B7F6A1EF-8C1D-3E90-3863-EB9CE63FF4F7}"/>
              </a:ext>
            </a:extLst>
          </p:cNvPr>
          <p:cNvSpPr/>
          <p:nvPr/>
        </p:nvSpPr>
        <p:spPr>
          <a:xfrm>
            <a:off x="8141263" y="2851417"/>
            <a:ext cx="1919646" cy="1126304"/>
          </a:xfrm>
          <a:prstGeom prst="roundRect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/>
          <a:p>
            <a:r>
              <a:rPr lang="en-US" sz="1100">
                <a:solidFill>
                  <a:schemeClr val="bg1"/>
                </a:solidFill>
              </a:rPr>
              <a:t>Support multiple LLM Models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4DEA83D6-370C-7EED-70E0-C61B89D91472}"/>
              </a:ext>
            </a:extLst>
          </p:cNvPr>
          <p:cNvCxnSpPr>
            <a:cxnSpLocks/>
          </p:cNvCxnSpPr>
          <p:nvPr/>
        </p:nvCxnSpPr>
        <p:spPr>
          <a:xfrm>
            <a:off x="8921168" y="2396111"/>
            <a:ext cx="0" cy="45530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42450E09-F317-E1B8-7208-24712A74837F}"/>
              </a:ext>
            </a:extLst>
          </p:cNvPr>
          <p:cNvSpPr txBox="1">
            <a:spLocks/>
          </p:cNvSpPr>
          <p:nvPr/>
        </p:nvSpPr>
        <p:spPr>
          <a:xfrm>
            <a:off x="318272" y="1219939"/>
            <a:ext cx="11403855" cy="52087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6" indent="-228606" algn="l" defTabSz="914422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231F20"/>
                </a:solidFill>
                <a:latin typeface="+mn-lt"/>
                <a:ea typeface="+mn-ea"/>
                <a:cs typeface="+mn-cs"/>
              </a:defRPr>
            </a:lvl1pPr>
            <a:lvl2pPr marL="685817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Montserrat" panose="00000500000000000000" pitchFamily="2" charset="0"/>
              <a:buChar char="–"/>
              <a:defRPr sz="2400" kern="1200">
                <a:solidFill>
                  <a:srgbClr val="231F20"/>
                </a:solidFill>
                <a:latin typeface="+mn-lt"/>
                <a:ea typeface="+mn-ea"/>
                <a:cs typeface="+mn-cs"/>
              </a:defRPr>
            </a:lvl2pPr>
            <a:lvl3pPr marL="1143028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231F20"/>
                </a:solidFill>
                <a:latin typeface="+mn-lt"/>
                <a:ea typeface="+mn-ea"/>
                <a:cs typeface="+mn-cs"/>
              </a:defRPr>
            </a:lvl3pPr>
            <a:lvl4pPr marL="1600240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Montserrat" panose="00000500000000000000" pitchFamily="2" charset="0"/>
              <a:buChar char="◆"/>
              <a:defRPr sz="1801" kern="1200">
                <a:solidFill>
                  <a:srgbClr val="231F20"/>
                </a:solidFill>
                <a:latin typeface="+mn-lt"/>
                <a:ea typeface="+mn-ea"/>
                <a:cs typeface="+mn-cs"/>
              </a:defRPr>
            </a:lvl4pPr>
            <a:lvl5pPr marL="2057451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Montserrat" panose="00000500000000000000" pitchFamily="2" charset="0"/>
              <a:buChar char="–"/>
              <a:defRPr sz="1801" kern="1200">
                <a:solidFill>
                  <a:srgbClr val="231F20"/>
                </a:solidFill>
                <a:latin typeface="+mn-lt"/>
                <a:ea typeface="+mn-ea"/>
                <a:cs typeface="+mn-cs"/>
              </a:defRPr>
            </a:lvl5pPr>
            <a:lvl6pPr marL="2514664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1400" kern="0">
              <a:ea typeface="+mj-ea"/>
              <a:cs typeface="+mj-cs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1B0A611-D874-6B00-5AA7-68146AE22C12}"/>
              </a:ext>
            </a:extLst>
          </p:cNvPr>
          <p:cNvGrpSpPr/>
          <p:nvPr/>
        </p:nvGrpSpPr>
        <p:grpSpPr>
          <a:xfrm>
            <a:off x="228437" y="1591162"/>
            <a:ext cx="7817622" cy="2385686"/>
            <a:chOff x="2586894" y="1527235"/>
            <a:chExt cx="8033282" cy="2385686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FF6EE157-C216-D2D9-1BB6-35D619BE4072}"/>
                </a:ext>
              </a:extLst>
            </p:cNvPr>
            <p:cNvGrpSpPr/>
            <p:nvPr/>
          </p:nvGrpSpPr>
          <p:grpSpPr>
            <a:xfrm>
              <a:off x="2586894" y="1543541"/>
              <a:ext cx="6097553" cy="2369380"/>
              <a:chOff x="5901241" y="373843"/>
              <a:chExt cx="6063493" cy="2566185"/>
            </a:xfrm>
          </p:grpSpPr>
          <p:grpSp>
            <p:nvGrpSpPr>
              <p:cNvPr id="46" name="Group 3">
                <a:extLst>
                  <a:ext uri="{FF2B5EF4-FFF2-40B4-BE49-F238E27FC236}">
                    <a16:creationId xmlns:a16="http://schemas.microsoft.com/office/drawing/2014/main" id="{F2FCA760-ED23-0669-7483-4F6A263C0524}"/>
                  </a:ext>
                </a:extLst>
              </p:cNvPr>
              <p:cNvGrpSpPr/>
              <p:nvPr/>
            </p:nvGrpSpPr>
            <p:grpSpPr>
              <a:xfrm>
                <a:off x="5901241" y="373847"/>
                <a:ext cx="2132177" cy="905347"/>
                <a:chOff x="0" y="-1763016"/>
                <a:chExt cx="2590990" cy="660400"/>
              </a:xfrm>
              <a:solidFill>
                <a:schemeClr val="accent4"/>
              </a:solidFill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56" name="Freeform 4">
                  <a:extLst>
                    <a:ext uri="{FF2B5EF4-FFF2-40B4-BE49-F238E27FC236}">
                      <a16:creationId xmlns:a16="http://schemas.microsoft.com/office/drawing/2014/main" id="{BA976A3D-AE59-9F56-4BAC-3AD9EB71A8F2}"/>
                    </a:ext>
                  </a:extLst>
                </p:cNvPr>
                <p:cNvSpPr/>
                <p:nvPr/>
              </p:nvSpPr>
              <p:spPr>
                <a:xfrm>
                  <a:off x="0" y="-1763016"/>
                  <a:ext cx="2590990" cy="660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90990" h="660400">
                      <a:moveTo>
                        <a:pt x="2466530" y="660400"/>
                      </a:moveTo>
                      <a:lnTo>
                        <a:pt x="124460" y="660400"/>
                      </a:lnTo>
                      <a:cubicBezTo>
                        <a:pt x="55880" y="660400"/>
                        <a:pt x="0" y="604520"/>
                        <a:pt x="0" y="535940"/>
                      </a:cubicBezTo>
                      <a:lnTo>
                        <a:pt x="0" y="124460"/>
                      </a:lnTo>
                      <a:cubicBezTo>
                        <a:pt x="0" y="55880"/>
                        <a:pt x="55880" y="0"/>
                        <a:pt x="124460" y="0"/>
                      </a:cubicBezTo>
                      <a:lnTo>
                        <a:pt x="2466530" y="0"/>
                      </a:lnTo>
                      <a:cubicBezTo>
                        <a:pt x="2535110" y="0"/>
                        <a:pt x="2590990" y="55880"/>
                        <a:pt x="2590990" y="124460"/>
                      </a:cubicBezTo>
                      <a:lnTo>
                        <a:pt x="2590990" y="535940"/>
                      </a:lnTo>
                      <a:cubicBezTo>
                        <a:pt x="2590990" y="604520"/>
                        <a:pt x="2535110" y="660400"/>
                        <a:pt x="2466530" y="660400"/>
                      </a:cubicBezTo>
                      <a:close/>
                    </a:path>
                  </a:pathLst>
                </a:custGeom>
                <a:grpFill/>
                <a:ln>
                  <a:solidFill>
                    <a:schemeClr val="tx1"/>
                  </a:solidFill>
                </a:ln>
              </p:spPr>
              <p:txBody>
                <a:bodyPr anchor="ctr"/>
                <a:lstStyle/>
                <a:p>
                  <a:pPr algn="ctr"/>
                  <a:r>
                    <a:rPr lang="en-IN" sz="1400" b="1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ea typeface="Times New Roman" panose="02020603050405020304" pitchFamily="18" charset="0"/>
                    </a:rPr>
                    <a:t>Generate Code</a:t>
                  </a:r>
                </a:p>
              </p:txBody>
            </p:sp>
          </p:grpSp>
          <p:sp>
            <p:nvSpPr>
              <p:cNvPr id="47" name="Freeform 6">
                <a:extLst>
                  <a:ext uri="{FF2B5EF4-FFF2-40B4-BE49-F238E27FC236}">
                    <a16:creationId xmlns:a16="http://schemas.microsoft.com/office/drawing/2014/main" id="{C9650FE7-CB2C-9292-B240-70CC662952EE}"/>
                  </a:ext>
                </a:extLst>
              </p:cNvPr>
              <p:cNvSpPr/>
              <p:nvPr/>
            </p:nvSpPr>
            <p:spPr>
              <a:xfrm>
                <a:off x="7835150" y="388205"/>
                <a:ext cx="2132178" cy="905347"/>
              </a:xfrm>
              <a:custGeom>
                <a:avLst/>
                <a:gdLst/>
                <a:ahLst/>
                <a:cxnLst/>
                <a:rect l="l" t="t" r="r" b="b"/>
                <a:pathLst>
                  <a:path w="2590990" h="660400">
                    <a:moveTo>
                      <a:pt x="2466530" y="660400"/>
                    </a:moveTo>
                    <a:lnTo>
                      <a:pt x="124460" y="660400"/>
                    </a:lnTo>
                    <a:cubicBezTo>
                      <a:pt x="55880" y="660400"/>
                      <a:pt x="0" y="604520"/>
                      <a:pt x="0" y="535940"/>
                    </a:cubicBezTo>
                    <a:lnTo>
                      <a:pt x="0" y="124460"/>
                    </a:lnTo>
                    <a:cubicBezTo>
                      <a:pt x="0" y="55880"/>
                      <a:pt x="55880" y="0"/>
                      <a:pt x="124460" y="0"/>
                    </a:cubicBezTo>
                    <a:lnTo>
                      <a:pt x="2466530" y="0"/>
                    </a:lnTo>
                    <a:cubicBezTo>
                      <a:pt x="2535110" y="0"/>
                      <a:pt x="2590990" y="55880"/>
                      <a:pt x="2590990" y="124460"/>
                    </a:cubicBezTo>
                    <a:lnTo>
                      <a:pt x="2590990" y="535940"/>
                    </a:lnTo>
                    <a:cubicBezTo>
                      <a:pt x="2590990" y="604520"/>
                      <a:pt x="2535110" y="660400"/>
                      <a:pt x="2466530" y="660400"/>
                    </a:cubicBez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anchor="ctr"/>
              <a:lstStyle/>
              <a:p>
                <a:pPr algn="ctr"/>
                <a:r>
                  <a:rPr lang="en-IN" sz="1400" b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Explain Code</a:t>
                </a:r>
              </a:p>
              <a:p>
                <a:pPr algn="ctr"/>
                <a:r>
                  <a:rPr lang="en-IN" sz="1100" b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(Legacy Code Explanation)</a:t>
                </a:r>
              </a:p>
            </p:txBody>
          </p:sp>
          <p:grpSp>
            <p:nvGrpSpPr>
              <p:cNvPr id="48" name="Group 7">
                <a:extLst>
                  <a:ext uri="{FF2B5EF4-FFF2-40B4-BE49-F238E27FC236}">
                    <a16:creationId xmlns:a16="http://schemas.microsoft.com/office/drawing/2014/main" id="{4078A8A6-4105-E186-63E3-465E7780B641}"/>
                  </a:ext>
                </a:extLst>
              </p:cNvPr>
              <p:cNvGrpSpPr/>
              <p:nvPr/>
            </p:nvGrpSpPr>
            <p:grpSpPr>
              <a:xfrm>
                <a:off x="9832557" y="373843"/>
                <a:ext cx="2132177" cy="905347"/>
                <a:chOff x="0" y="-1763020"/>
                <a:chExt cx="2590990" cy="660400"/>
              </a:xfrm>
              <a:solidFill>
                <a:schemeClr val="accent1">
                  <a:lumMod val="75000"/>
                </a:schemeClr>
              </a:solidFill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55" name="Freeform 8">
                  <a:extLst>
                    <a:ext uri="{FF2B5EF4-FFF2-40B4-BE49-F238E27FC236}">
                      <a16:creationId xmlns:a16="http://schemas.microsoft.com/office/drawing/2014/main" id="{FA77CB8C-3ABC-4456-F0EF-90B8A1CDB9BC}"/>
                    </a:ext>
                  </a:extLst>
                </p:cNvPr>
                <p:cNvSpPr/>
                <p:nvPr/>
              </p:nvSpPr>
              <p:spPr>
                <a:xfrm>
                  <a:off x="0" y="-1763020"/>
                  <a:ext cx="2590990" cy="660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90990" h="660400">
                      <a:moveTo>
                        <a:pt x="2466530" y="660400"/>
                      </a:moveTo>
                      <a:lnTo>
                        <a:pt x="124460" y="660400"/>
                      </a:lnTo>
                      <a:cubicBezTo>
                        <a:pt x="55880" y="660400"/>
                        <a:pt x="0" y="604520"/>
                        <a:pt x="0" y="535940"/>
                      </a:cubicBezTo>
                      <a:lnTo>
                        <a:pt x="0" y="124460"/>
                      </a:lnTo>
                      <a:cubicBezTo>
                        <a:pt x="0" y="55880"/>
                        <a:pt x="55880" y="0"/>
                        <a:pt x="124460" y="0"/>
                      </a:cubicBezTo>
                      <a:lnTo>
                        <a:pt x="2466530" y="0"/>
                      </a:lnTo>
                      <a:cubicBezTo>
                        <a:pt x="2535110" y="0"/>
                        <a:pt x="2590990" y="55880"/>
                        <a:pt x="2590990" y="124460"/>
                      </a:cubicBezTo>
                      <a:lnTo>
                        <a:pt x="2590990" y="535940"/>
                      </a:lnTo>
                      <a:cubicBezTo>
                        <a:pt x="2590990" y="604520"/>
                        <a:pt x="2535110" y="660400"/>
                        <a:pt x="2466530" y="660400"/>
                      </a:cubicBezTo>
                      <a:close/>
                    </a:path>
                  </a:pathLst>
                </a:custGeom>
                <a:grpFill/>
                <a:ln>
                  <a:solidFill>
                    <a:schemeClr val="tx1"/>
                  </a:solidFill>
                </a:ln>
              </p:spPr>
              <p:txBody>
                <a:bodyPr anchor="ctr"/>
                <a:lstStyle/>
                <a:p>
                  <a:pPr algn="ctr"/>
                  <a:r>
                    <a:rPr lang="en-US" sz="1400" b="1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rPr>
                    <a:t>Optimize Code</a:t>
                  </a:r>
                </a:p>
              </p:txBody>
            </p:sp>
          </p:grpSp>
          <p:cxnSp>
            <p:nvCxnSpPr>
              <p:cNvPr id="49" name="Straight Arrow Connector 48">
                <a:extLst>
                  <a:ext uri="{FF2B5EF4-FFF2-40B4-BE49-F238E27FC236}">
                    <a16:creationId xmlns:a16="http://schemas.microsoft.com/office/drawing/2014/main" id="{8A945E4E-5AA3-02E9-C833-8E532A4616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900203" y="1261525"/>
                <a:ext cx="0" cy="426059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Arrow Connector 49">
                <a:extLst>
                  <a:ext uri="{FF2B5EF4-FFF2-40B4-BE49-F238E27FC236}">
                    <a16:creationId xmlns:a16="http://schemas.microsoft.com/office/drawing/2014/main" id="{5FB95625-03A9-FA25-0B1A-F0AE45BB7A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47121" y="1261525"/>
                <a:ext cx="0" cy="426059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Arrow Connector 50">
                <a:extLst>
                  <a:ext uri="{FF2B5EF4-FFF2-40B4-BE49-F238E27FC236}">
                    <a16:creationId xmlns:a16="http://schemas.microsoft.com/office/drawing/2014/main" id="{892F70CD-1BB9-FCAA-ACDF-AFEAD685D18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35801" y="1261525"/>
                <a:ext cx="0" cy="426059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Rectangle: Rounded Corners 51">
                <a:extLst>
                  <a:ext uri="{FF2B5EF4-FFF2-40B4-BE49-F238E27FC236}">
                    <a16:creationId xmlns:a16="http://schemas.microsoft.com/office/drawing/2014/main" id="{66484100-9DFB-E59E-A23C-9993A3A45BB3}"/>
                  </a:ext>
                </a:extLst>
              </p:cNvPr>
              <p:cNvSpPr/>
              <p:nvPr/>
            </p:nvSpPr>
            <p:spPr>
              <a:xfrm>
                <a:off x="6104227" y="1751307"/>
                <a:ext cx="1737360" cy="1188721"/>
              </a:xfrm>
              <a:prstGeom prst="roundRect">
                <a:avLst/>
              </a:prstGeom>
              <a:solidFill>
                <a:schemeClr val="accent3"/>
              </a:solidFill>
              <a:ln>
                <a:solidFill>
                  <a:schemeClr val="tx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r>
                  <a:rPr lang="en-US" sz="1100">
                    <a:solidFill>
                      <a:schemeClr val="bg1"/>
                    </a:solidFill>
                  </a:rPr>
                  <a:t>Generate code with IDE (Integrated Development Environment) Plugin</a:t>
                </a:r>
                <a:endParaRPr lang="en-GB" sz="110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Rectangle: Rounded Corners 52">
                <a:extLst>
                  <a:ext uri="{FF2B5EF4-FFF2-40B4-BE49-F238E27FC236}">
                    <a16:creationId xmlns:a16="http://schemas.microsoft.com/office/drawing/2014/main" id="{4BCAABC7-A6E5-9B80-72F9-38E8157CD678}"/>
                  </a:ext>
                </a:extLst>
              </p:cNvPr>
              <p:cNvSpPr/>
              <p:nvPr/>
            </p:nvSpPr>
            <p:spPr>
              <a:xfrm>
                <a:off x="8069687" y="1739519"/>
                <a:ext cx="1737360" cy="1188721"/>
              </a:xfrm>
              <a:prstGeom prst="roundRect">
                <a:avLst/>
              </a:prstGeom>
              <a:solidFill>
                <a:schemeClr val="accent3"/>
              </a:solidFill>
              <a:ln>
                <a:solidFill>
                  <a:schemeClr val="tx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p:spPr>
            <p:txBody>
              <a:bodyPr lIns="91440" tIns="45720" rIns="91440" bIns="45720" anchor="ctr"/>
              <a:lstStyle/>
              <a:p>
                <a:r>
                  <a:rPr lang="en-US" sz="1100">
                    <a:solidFill>
                      <a:schemeClr val="bg1"/>
                    </a:solidFill>
                  </a:rPr>
                  <a:t>Explain </a:t>
                </a:r>
                <a:r>
                  <a:rPr lang="en-US" sz="1100">
                    <a:solidFill>
                      <a:schemeClr val="bg1"/>
                    </a:solidFill>
                    <a:ea typeface="+mn-lt"/>
                    <a:cs typeface="+mn-lt"/>
                  </a:rPr>
                  <a:t>legacy </a:t>
                </a:r>
                <a:r>
                  <a:rPr lang="en-US" sz="1100">
                    <a:solidFill>
                      <a:schemeClr val="bg1"/>
                    </a:solidFill>
                  </a:rPr>
                  <a:t>code / user uploaded code files in human language </a:t>
                </a:r>
              </a:p>
            </p:txBody>
          </p:sp>
          <p:sp>
            <p:nvSpPr>
              <p:cNvPr id="54" name="Rectangle: Rounded Corners 53">
                <a:extLst>
                  <a:ext uri="{FF2B5EF4-FFF2-40B4-BE49-F238E27FC236}">
                    <a16:creationId xmlns:a16="http://schemas.microsoft.com/office/drawing/2014/main" id="{8EA4A52D-8867-FD3D-CDC9-6B69786CABB2}"/>
                  </a:ext>
                </a:extLst>
              </p:cNvPr>
              <p:cNvSpPr/>
              <p:nvPr/>
            </p:nvSpPr>
            <p:spPr>
              <a:xfrm>
                <a:off x="10034029" y="1739519"/>
                <a:ext cx="1737360" cy="1188721"/>
              </a:xfrm>
              <a:prstGeom prst="roundRect">
                <a:avLst/>
              </a:prstGeom>
              <a:solidFill>
                <a:schemeClr val="accent3"/>
              </a:solidFill>
              <a:ln>
                <a:solidFill>
                  <a:schemeClr val="tx1"/>
                </a:solidFill>
              </a:ln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r>
                  <a:rPr lang="en-US" sz="1100">
                    <a:solidFill>
                      <a:schemeClr val="bg1"/>
                    </a:solidFill>
                  </a:rPr>
                  <a:t>Optimize the existing / newly developed code</a:t>
                </a:r>
              </a:p>
            </p:txBody>
          </p:sp>
        </p:grpSp>
        <p:sp>
          <p:nvSpPr>
            <p:cNvPr id="43" name="Freeform 4">
              <a:extLst>
                <a:ext uri="{FF2B5EF4-FFF2-40B4-BE49-F238E27FC236}">
                  <a16:creationId xmlns:a16="http://schemas.microsoft.com/office/drawing/2014/main" id="{472E8595-82DE-64BD-534B-5F1C3B8BB9E0}"/>
                </a:ext>
              </a:extLst>
            </p:cNvPr>
            <p:cNvSpPr/>
            <p:nvPr/>
          </p:nvSpPr>
          <p:spPr>
            <a:xfrm>
              <a:off x="8476022" y="1527235"/>
              <a:ext cx="2144154" cy="835911"/>
            </a:xfrm>
            <a:custGeom>
              <a:avLst/>
              <a:gdLst/>
              <a:ahLst/>
              <a:cxnLst/>
              <a:rect l="l" t="t" r="r" b="b"/>
              <a:pathLst>
                <a:path w="2590990" h="660400">
                  <a:moveTo>
                    <a:pt x="2466530" y="660400"/>
                  </a:moveTo>
                  <a:lnTo>
                    <a:pt x="124460" y="660400"/>
                  </a:lnTo>
                  <a:cubicBezTo>
                    <a:pt x="55880" y="660400"/>
                    <a:pt x="0" y="604520"/>
                    <a:pt x="0" y="535940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2466530" y="0"/>
                  </a:lnTo>
                  <a:cubicBezTo>
                    <a:pt x="2535110" y="0"/>
                    <a:pt x="2590990" y="55880"/>
                    <a:pt x="2590990" y="124460"/>
                  </a:cubicBezTo>
                  <a:lnTo>
                    <a:pt x="2590990" y="535940"/>
                  </a:lnTo>
                  <a:cubicBezTo>
                    <a:pt x="2590990" y="604520"/>
                    <a:pt x="2535110" y="660400"/>
                    <a:pt x="2466530" y="660400"/>
                  </a:cubicBezTo>
                  <a:close/>
                </a:path>
              </a:pathLst>
            </a:custGeom>
            <a:solidFill>
              <a:schemeClr val="accent4"/>
            </a:solidFill>
            <a:ln>
              <a:solidFill>
                <a:schemeClr val="tx1"/>
              </a:solidFill>
            </a:ln>
          </p:spPr>
          <p:txBody>
            <a:bodyPr lIns="91440" tIns="45720" rIns="91440" bIns="45720" anchor="ctr"/>
            <a:lstStyle/>
            <a:p>
              <a:pPr algn="ctr"/>
              <a:r>
                <a:rPr lang="en-IN" sz="14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Times New Roman" panose="02020603050405020304" pitchFamily="18" charset="0"/>
                </a:rPr>
                <a:t>Insert Comments</a:t>
              </a: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D49FDEE9-6FBB-3CEB-1A3F-A16627E89131}"/>
                </a:ext>
              </a:extLst>
            </p:cNvPr>
            <p:cNvCxnSpPr>
              <a:cxnSpLocks/>
            </p:cNvCxnSpPr>
            <p:nvPr/>
          </p:nvCxnSpPr>
          <p:spPr>
            <a:xfrm>
              <a:off x="9480595" y="2363145"/>
              <a:ext cx="0" cy="379242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043C9C28-8A73-BC36-66F5-1E59C86E2E7B}"/>
                </a:ext>
              </a:extLst>
            </p:cNvPr>
            <p:cNvSpPr/>
            <p:nvPr/>
          </p:nvSpPr>
          <p:spPr>
            <a:xfrm>
              <a:off x="8680147" y="2809941"/>
              <a:ext cx="1864920" cy="1097550"/>
            </a:xfrm>
            <a:prstGeom prst="roundRect">
              <a:avLst/>
            </a:prstGeom>
            <a:solidFill>
              <a:schemeClr val="accent3"/>
            </a:solidFill>
            <a:ln>
              <a:solidFill>
                <a:schemeClr val="tx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lIns="91440" tIns="45720" rIns="91440" bIns="45720" anchor="ctr"/>
            <a:lstStyle/>
            <a:p>
              <a:r>
                <a:rPr lang="en-US" sz="1100">
                  <a:solidFill>
                    <a:schemeClr val="bg1"/>
                  </a:solidFill>
                </a:rPr>
                <a:t>Generate summarized  &amp; logical comments  </a:t>
              </a:r>
              <a:endParaRPr lang="en-GB" sz="1100">
                <a:solidFill>
                  <a:schemeClr val="bg1"/>
                </a:solidFill>
              </a:endParaRPr>
            </a:p>
          </p:txBody>
        </p:sp>
      </p:grpSp>
      <p:sp>
        <p:nvSpPr>
          <p:cNvPr id="59" name="Freeform 6">
            <a:extLst>
              <a:ext uri="{FF2B5EF4-FFF2-40B4-BE49-F238E27FC236}">
                <a16:creationId xmlns:a16="http://schemas.microsoft.com/office/drawing/2014/main" id="{B032F229-A6D5-1E84-FD6A-A3C680F6A1A1}"/>
              </a:ext>
            </a:extLst>
          </p:cNvPr>
          <p:cNvSpPr/>
          <p:nvPr/>
        </p:nvSpPr>
        <p:spPr>
          <a:xfrm>
            <a:off x="7892397" y="4160194"/>
            <a:ext cx="2144154" cy="759118"/>
          </a:xfrm>
          <a:custGeom>
            <a:avLst/>
            <a:gdLst/>
            <a:ahLst/>
            <a:cxnLst/>
            <a:rect l="l" t="t" r="r" b="b"/>
            <a:pathLst>
              <a:path w="2590990" h="660400">
                <a:moveTo>
                  <a:pt x="2466530" y="660400"/>
                </a:moveTo>
                <a:lnTo>
                  <a:pt x="124460" y="660400"/>
                </a:lnTo>
                <a:cubicBezTo>
                  <a:pt x="55880" y="660400"/>
                  <a:pt x="0" y="604520"/>
                  <a:pt x="0" y="535940"/>
                </a:cubicBezTo>
                <a:lnTo>
                  <a:pt x="0" y="124460"/>
                </a:lnTo>
                <a:cubicBezTo>
                  <a:pt x="0" y="55880"/>
                  <a:pt x="55880" y="0"/>
                  <a:pt x="124460" y="0"/>
                </a:cubicBezTo>
                <a:lnTo>
                  <a:pt x="2466530" y="0"/>
                </a:lnTo>
                <a:cubicBezTo>
                  <a:pt x="2535110" y="0"/>
                  <a:pt x="2590990" y="55880"/>
                  <a:pt x="2590990" y="124460"/>
                </a:cubicBezTo>
                <a:lnTo>
                  <a:pt x="2590990" y="535940"/>
                </a:lnTo>
                <a:cubicBezTo>
                  <a:pt x="2590990" y="604520"/>
                  <a:pt x="2535110" y="660400"/>
                  <a:pt x="2466530" y="660400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</p:spPr>
        <p:txBody>
          <a:bodyPr lIns="91440" tIns="45720" rIns="91440" bIns="45720" anchor="ctr"/>
          <a:lstStyle/>
          <a:p>
            <a:pPr algn="ctr"/>
            <a:r>
              <a:rPr lang="en-IN" sz="1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plain SQL</a:t>
            </a: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3977B965-6377-3285-B263-67B339C9FC7A}"/>
              </a:ext>
            </a:extLst>
          </p:cNvPr>
          <p:cNvSpPr/>
          <p:nvPr/>
        </p:nvSpPr>
        <p:spPr>
          <a:xfrm>
            <a:off x="8075721" y="5248592"/>
            <a:ext cx="1919646" cy="1126304"/>
          </a:xfrm>
          <a:prstGeom prst="roundRect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/>
          <a:p>
            <a:r>
              <a:rPr lang="en-US" sz="1100" dirty="0">
                <a:solidFill>
                  <a:schemeClr val="bg1"/>
                </a:solidFill>
              </a:rPr>
              <a:t>Assists developers in understanding, documenting, and explaining SQL queries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F8CD98F5-E5D1-DBFF-0475-E0FF7A88F298}"/>
              </a:ext>
            </a:extLst>
          </p:cNvPr>
          <p:cNvSpPr/>
          <p:nvPr/>
        </p:nvSpPr>
        <p:spPr>
          <a:xfrm>
            <a:off x="10090064" y="5219739"/>
            <a:ext cx="1919646" cy="1126304"/>
          </a:xfrm>
          <a:prstGeom prst="roundRect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/>
          <a:p>
            <a:r>
              <a:rPr lang="en-US" sz="1100" dirty="0">
                <a:solidFill>
                  <a:schemeClr val="bg1"/>
                </a:solidFill>
              </a:rPr>
              <a:t>Assists developers in identifying and improvements in SQL queries</a:t>
            </a:r>
          </a:p>
        </p:txBody>
      </p:sp>
      <p:sp>
        <p:nvSpPr>
          <p:cNvPr id="64" name="Freeform 4">
            <a:extLst>
              <a:ext uri="{FF2B5EF4-FFF2-40B4-BE49-F238E27FC236}">
                <a16:creationId xmlns:a16="http://schemas.microsoft.com/office/drawing/2014/main" id="{78FB2E4E-C93C-74D0-E818-B957001C78CA}"/>
              </a:ext>
            </a:extLst>
          </p:cNvPr>
          <p:cNvSpPr/>
          <p:nvPr/>
        </p:nvSpPr>
        <p:spPr>
          <a:xfrm>
            <a:off x="9964435" y="4186533"/>
            <a:ext cx="2086592" cy="744590"/>
          </a:xfrm>
          <a:custGeom>
            <a:avLst/>
            <a:gdLst/>
            <a:ahLst/>
            <a:cxnLst/>
            <a:rect l="l" t="t" r="r" b="b"/>
            <a:pathLst>
              <a:path w="2590990" h="660400">
                <a:moveTo>
                  <a:pt x="2466530" y="660400"/>
                </a:moveTo>
                <a:lnTo>
                  <a:pt x="124460" y="660400"/>
                </a:lnTo>
                <a:cubicBezTo>
                  <a:pt x="55880" y="660400"/>
                  <a:pt x="0" y="604520"/>
                  <a:pt x="0" y="535940"/>
                </a:cubicBezTo>
                <a:lnTo>
                  <a:pt x="0" y="124460"/>
                </a:lnTo>
                <a:cubicBezTo>
                  <a:pt x="0" y="55880"/>
                  <a:pt x="55880" y="0"/>
                  <a:pt x="124460" y="0"/>
                </a:cubicBezTo>
                <a:lnTo>
                  <a:pt x="2466530" y="0"/>
                </a:lnTo>
                <a:cubicBezTo>
                  <a:pt x="2535110" y="0"/>
                  <a:pt x="2590990" y="55880"/>
                  <a:pt x="2590990" y="124460"/>
                </a:cubicBezTo>
                <a:lnTo>
                  <a:pt x="2590990" y="535940"/>
                </a:lnTo>
                <a:cubicBezTo>
                  <a:pt x="2590990" y="604520"/>
                  <a:pt x="2535110" y="660400"/>
                  <a:pt x="2466530" y="660400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tx1"/>
            </a:solidFill>
          </a:ln>
        </p:spPr>
        <p:txBody>
          <a:bodyPr lIns="91440" tIns="45720" rIns="91440" bIns="45720" anchor="ctr"/>
          <a:lstStyle/>
          <a:p>
            <a:pPr algn="ctr"/>
            <a:r>
              <a:rPr lang="en-IN" sz="1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imes New Roman" panose="02020603050405020304" pitchFamily="18" charset="0"/>
              </a:rPr>
              <a:t>Fix SQL</a:t>
            </a: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9B896118-C198-7115-CF0E-0FE8D301413C}"/>
              </a:ext>
            </a:extLst>
          </p:cNvPr>
          <p:cNvCxnSpPr>
            <a:cxnSpLocks/>
          </p:cNvCxnSpPr>
          <p:nvPr/>
        </p:nvCxnSpPr>
        <p:spPr>
          <a:xfrm>
            <a:off x="8869609" y="4904782"/>
            <a:ext cx="0" cy="31495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8BA1D1DB-FCCC-CE8A-9956-B9D60AC67C2D}"/>
              </a:ext>
            </a:extLst>
          </p:cNvPr>
          <p:cNvCxnSpPr>
            <a:cxnSpLocks/>
          </p:cNvCxnSpPr>
          <p:nvPr/>
        </p:nvCxnSpPr>
        <p:spPr>
          <a:xfrm>
            <a:off x="11007731" y="4893354"/>
            <a:ext cx="0" cy="33781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C623012-6A01-5E93-BB8B-BA3FAB561EEC}"/>
              </a:ext>
            </a:extLst>
          </p:cNvPr>
          <p:cNvSpPr/>
          <p:nvPr/>
        </p:nvSpPr>
        <p:spPr>
          <a:xfrm>
            <a:off x="10179522" y="2851417"/>
            <a:ext cx="1919646" cy="1126304"/>
          </a:xfrm>
          <a:prstGeom prst="roundRect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/>
          <a:p>
            <a:r>
              <a:rPr lang="en-US" sz="1100">
                <a:solidFill>
                  <a:schemeClr val="bg1"/>
                </a:solidFill>
              </a:rPr>
              <a:t>Allows developers to ensure quality and adherence to project requirements through feedback and suggestions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C5457D59-035E-ABCD-C084-AF7DF87D9C35}"/>
              </a:ext>
            </a:extLst>
          </p:cNvPr>
          <p:cNvCxnSpPr>
            <a:cxnSpLocks/>
          </p:cNvCxnSpPr>
          <p:nvPr/>
        </p:nvCxnSpPr>
        <p:spPr>
          <a:xfrm>
            <a:off x="10959427" y="2396111"/>
            <a:ext cx="0" cy="45530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reeform 4">
            <a:extLst>
              <a:ext uri="{FF2B5EF4-FFF2-40B4-BE49-F238E27FC236}">
                <a16:creationId xmlns:a16="http://schemas.microsoft.com/office/drawing/2014/main" id="{75BDD73D-E700-F8D9-EEB7-73600BAAD5A9}"/>
              </a:ext>
            </a:extLst>
          </p:cNvPr>
          <p:cNvSpPr/>
          <p:nvPr/>
        </p:nvSpPr>
        <p:spPr>
          <a:xfrm>
            <a:off x="10036551" y="1591162"/>
            <a:ext cx="2086592" cy="852220"/>
          </a:xfrm>
          <a:custGeom>
            <a:avLst/>
            <a:gdLst/>
            <a:ahLst/>
            <a:cxnLst/>
            <a:rect l="l" t="t" r="r" b="b"/>
            <a:pathLst>
              <a:path w="2590990" h="660400">
                <a:moveTo>
                  <a:pt x="2466530" y="660400"/>
                </a:moveTo>
                <a:lnTo>
                  <a:pt x="124460" y="660400"/>
                </a:lnTo>
                <a:cubicBezTo>
                  <a:pt x="55880" y="660400"/>
                  <a:pt x="0" y="604520"/>
                  <a:pt x="0" y="535940"/>
                </a:cubicBezTo>
                <a:lnTo>
                  <a:pt x="0" y="124460"/>
                </a:lnTo>
                <a:cubicBezTo>
                  <a:pt x="0" y="55880"/>
                  <a:pt x="55880" y="0"/>
                  <a:pt x="124460" y="0"/>
                </a:cubicBezTo>
                <a:lnTo>
                  <a:pt x="2466530" y="0"/>
                </a:lnTo>
                <a:cubicBezTo>
                  <a:pt x="2535110" y="0"/>
                  <a:pt x="2590990" y="55880"/>
                  <a:pt x="2590990" y="124460"/>
                </a:cubicBezTo>
                <a:lnTo>
                  <a:pt x="2590990" y="535940"/>
                </a:lnTo>
                <a:cubicBezTo>
                  <a:pt x="2590990" y="604520"/>
                  <a:pt x="2535110" y="660400"/>
                  <a:pt x="2466530" y="660400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tx1"/>
            </a:solidFill>
          </a:ln>
        </p:spPr>
        <p:txBody>
          <a:bodyPr lIns="91440" tIns="45720" rIns="91440" bIns="45720" anchor="ctr"/>
          <a:lstStyle/>
          <a:p>
            <a:pPr algn="ctr"/>
            <a:r>
              <a:rPr lang="en-IN" sz="1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imes New Roman" panose="02020603050405020304" pitchFamily="18" charset="0"/>
              </a:rPr>
              <a:t>Code Review</a:t>
            </a:r>
          </a:p>
        </p:txBody>
      </p:sp>
    </p:spTree>
    <p:extLst>
      <p:ext uri="{BB962C8B-B14F-4D97-AF65-F5344CB8AC3E}">
        <p14:creationId xmlns:p14="http://schemas.microsoft.com/office/powerpoint/2010/main" val="28646324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>
                <a:latin typeface="+mn-lt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6257084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9D9C57-A4A5-31AF-3CAD-1930F462F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/>
              <a:t>CORA Code GenY </a:t>
            </a:r>
            <a:r>
              <a:rPr lang="en-US" sz="3200">
                <a:latin typeface="+mj-lt"/>
              </a:rPr>
              <a:t>accelerators to address these challenges.</a:t>
            </a:r>
            <a:endParaRPr lang="en-US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87206215-929F-F7D0-E353-3F5C86993834}"/>
              </a:ext>
            </a:extLst>
          </p:cNvPr>
          <p:cNvSpPr/>
          <p:nvPr/>
        </p:nvSpPr>
        <p:spPr>
          <a:xfrm>
            <a:off x="573763" y="1378847"/>
            <a:ext cx="2391716" cy="2281451"/>
          </a:xfrm>
          <a:prstGeom prst="roundRect">
            <a:avLst/>
          </a:prstGeom>
          <a:noFill/>
          <a:ln w="1016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50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rPr>
              <a:t>Read and comprehend legacy code, making it easier to understand the codebase's structure and functionality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50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rPr>
              <a:t>Extract key insights and summarize the critical aspects of the legacy code, such as its main functions, dependencies, and potential areas for improvement</a:t>
            </a:r>
            <a:endParaRPr lang="en-US" sz="1050">
              <a:solidFill>
                <a:schemeClr val="tx1"/>
              </a:solidFill>
            </a:endParaRPr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62A6DC77-A9A8-BB91-5641-BA026FDF211C}"/>
              </a:ext>
            </a:extLst>
          </p:cNvPr>
          <p:cNvSpPr/>
          <p:nvPr/>
        </p:nvSpPr>
        <p:spPr>
          <a:xfrm>
            <a:off x="2241355" y="1312598"/>
            <a:ext cx="783758" cy="109856"/>
          </a:xfrm>
          <a:prstGeom prst="rightArrow">
            <a:avLst/>
          </a:prstGeom>
          <a:solidFill>
            <a:schemeClr val="accent4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B1EDD8D6-2CBC-D467-AA30-4E1505A4E05D}"/>
              </a:ext>
            </a:extLst>
          </p:cNvPr>
          <p:cNvSpPr/>
          <p:nvPr/>
        </p:nvSpPr>
        <p:spPr>
          <a:xfrm>
            <a:off x="3515173" y="1378846"/>
            <a:ext cx="2395728" cy="2281451"/>
          </a:xfrm>
          <a:prstGeom prst="roundRect">
            <a:avLst/>
          </a:prstGeom>
          <a:noFill/>
          <a:ln w="1016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50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rPr>
              <a:t>Generate test cases to streamline the testing process for legacy systems &amp; reduce the risk of introducing errors during modernization or maintenance efforts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50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rPr>
              <a:t>Can generate Behavior-Driven Development (BDD) test cases, test scripts that cover critical scenarios</a:t>
            </a:r>
            <a:endParaRPr lang="en-US" sz="1000">
              <a:solidFill>
                <a:schemeClr val="tx1"/>
              </a:solidFill>
            </a:endParaRPr>
          </a:p>
          <a:p>
            <a:pPr algn="ctr"/>
            <a:endParaRPr lang="en-GB" sz="1000">
              <a:solidFill>
                <a:schemeClr val="tx1"/>
              </a:solidFill>
            </a:endParaRPr>
          </a:p>
        </p:txBody>
      </p:sp>
      <p:sp>
        <p:nvSpPr>
          <p:cNvPr id="8" name="Right Arrow 7">
            <a:extLst>
              <a:ext uri="{FF2B5EF4-FFF2-40B4-BE49-F238E27FC236}">
                <a16:creationId xmlns:a16="http://schemas.microsoft.com/office/drawing/2014/main" id="{76D909AB-DC62-C5DA-62A2-3A75A5B4550D}"/>
              </a:ext>
            </a:extLst>
          </p:cNvPr>
          <p:cNvSpPr/>
          <p:nvPr/>
        </p:nvSpPr>
        <p:spPr>
          <a:xfrm>
            <a:off x="5482491" y="1310400"/>
            <a:ext cx="533400" cy="132498"/>
          </a:xfrm>
          <a:prstGeom prst="rightArrow">
            <a:avLst/>
          </a:prstGeom>
          <a:solidFill>
            <a:schemeClr val="accent2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CE8F9682-8226-A17C-EAC8-E4F3C75A1BA3}"/>
              </a:ext>
            </a:extLst>
          </p:cNvPr>
          <p:cNvSpPr/>
          <p:nvPr/>
        </p:nvSpPr>
        <p:spPr>
          <a:xfrm>
            <a:off x="6386835" y="1378846"/>
            <a:ext cx="2395728" cy="2281451"/>
          </a:xfrm>
          <a:prstGeom prst="roundRect">
            <a:avLst/>
          </a:prstGeom>
          <a:noFill/>
          <a:ln w="1016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50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rPr>
              <a:t>Parses Database Definition Language (DDL) scripts, extracting relevant details and generating comprehensive documentation aligned with Domain Driven Design principles, streamlining the understanding of data structures , relationships, domains and sub-domains</a:t>
            </a:r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2C637A41-2A87-90C3-D6DF-E0B203114DFF}"/>
              </a:ext>
            </a:extLst>
          </p:cNvPr>
          <p:cNvSpPr/>
          <p:nvPr/>
        </p:nvSpPr>
        <p:spPr>
          <a:xfrm>
            <a:off x="8370417" y="1310400"/>
            <a:ext cx="533400" cy="132498"/>
          </a:xfrm>
          <a:prstGeom prst="rightArrow">
            <a:avLst/>
          </a:prstGeom>
          <a:solidFill>
            <a:schemeClr val="bg2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576FCC1C-FBFD-F849-1469-B6A7C9D46CBB}"/>
              </a:ext>
            </a:extLst>
          </p:cNvPr>
          <p:cNvSpPr/>
          <p:nvPr/>
        </p:nvSpPr>
        <p:spPr>
          <a:xfrm>
            <a:off x="9271761" y="1386994"/>
            <a:ext cx="2395728" cy="2281451"/>
          </a:xfrm>
          <a:prstGeom prst="roundRect">
            <a:avLst/>
          </a:prstGeom>
          <a:noFill/>
          <a:ln w="1016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50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rPr>
              <a:t>Effortlessly transform code between languages and frameworks with AI-powered plugins, saving time and streamlining workflows.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50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rPr>
              <a:t>Intelligently interprets syntax and semantics, facilitating seamless translation and migration of code across diverse platforms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en-GB" sz="1000">
              <a:solidFill>
                <a:schemeClr val="tx1"/>
              </a:solidFill>
            </a:endParaRPr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B74E5C18-A4B1-B8FC-7FA2-2FF63F2E85FA}"/>
              </a:ext>
            </a:extLst>
          </p:cNvPr>
          <p:cNvSpPr/>
          <p:nvPr/>
        </p:nvSpPr>
        <p:spPr>
          <a:xfrm>
            <a:off x="11213398" y="1330277"/>
            <a:ext cx="533400" cy="132498"/>
          </a:xfrm>
          <a:prstGeom prst="rightArrow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B67A108-5190-EAD0-5950-290751653E83}"/>
              </a:ext>
            </a:extLst>
          </p:cNvPr>
          <p:cNvSpPr txBox="1"/>
          <p:nvPr/>
        </p:nvSpPr>
        <p:spPr>
          <a:xfrm>
            <a:off x="782182" y="1045130"/>
            <a:ext cx="197487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lang="en-US" sz="1200" b="1" kern="0">
                <a:solidFill>
                  <a:schemeClr val="tx2"/>
                </a:solidFill>
                <a:latin typeface="+mj-lt"/>
                <a:ea typeface="ＭＳ Ｐゴシック"/>
              </a:rPr>
              <a:t>Legacy Code Analyzer</a:t>
            </a:r>
            <a:endParaRPr lang="en-US" sz="120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8D22B70-715F-0514-54E6-8DB37CF6E15B}"/>
              </a:ext>
            </a:extLst>
          </p:cNvPr>
          <p:cNvSpPr txBox="1"/>
          <p:nvPr/>
        </p:nvSpPr>
        <p:spPr>
          <a:xfrm>
            <a:off x="3877643" y="1045130"/>
            <a:ext cx="197487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lang="en-US" sz="1200" b="1" kern="0">
                <a:solidFill>
                  <a:schemeClr val="tx2"/>
                </a:solidFill>
                <a:latin typeface="+mj-lt"/>
                <a:ea typeface="ＭＳ Ｐゴシック"/>
              </a:rPr>
              <a:t>QA Accelerator</a:t>
            </a:r>
            <a:endParaRPr lang="en-US" sz="120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C335405-4F04-B0EA-0201-B26210390566}"/>
              </a:ext>
            </a:extLst>
          </p:cNvPr>
          <p:cNvSpPr txBox="1"/>
          <p:nvPr/>
        </p:nvSpPr>
        <p:spPr>
          <a:xfrm>
            <a:off x="6531090" y="1045130"/>
            <a:ext cx="22514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lang="en-US" sz="1200" b="1" kern="0">
                <a:solidFill>
                  <a:schemeClr val="tx2"/>
                </a:solidFill>
                <a:latin typeface="+mj-lt"/>
                <a:ea typeface="ＭＳ Ｐゴシック"/>
              </a:rPr>
              <a:t>Data Model Documenter</a:t>
            </a:r>
            <a:endParaRPr lang="en-US" sz="120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4CE84CA-FFBA-2E86-7273-66063A77A913}"/>
              </a:ext>
            </a:extLst>
          </p:cNvPr>
          <p:cNvSpPr txBox="1"/>
          <p:nvPr/>
        </p:nvSpPr>
        <p:spPr>
          <a:xfrm>
            <a:off x="9448349" y="1045130"/>
            <a:ext cx="22514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lang="en-US" sz="1200" b="1" kern="0">
                <a:solidFill>
                  <a:schemeClr val="tx2"/>
                </a:solidFill>
                <a:latin typeface="+mj-lt"/>
                <a:ea typeface="ＭＳ Ｐゴシック"/>
              </a:rPr>
              <a:t>Code Converter</a:t>
            </a:r>
            <a:endParaRPr lang="en-US" sz="120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C28ADFEB-F9C1-6239-AF8A-7086DA58CB41}"/>
              </a:ext>
            </a:extLst>
          </p:cNvPr>
          <p:cNvSpPr/>
          <p:nvPr/>
        </p:nvSpPr>
        <p:spPr>
          <a:xfrm>
            <a:off x="573763" y="4353960"/>
            <a:ext cx="2391716" cy="2281451"/>
          </a:xfrm>
          <a:prstGeom prst="roundRect">
            <a:avLst/>
          </a:prstGeom>
          <a:noFill/>
          <a:ln w="1016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50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rPr>
              <a:t>AI-driven suggestions and code completions for smoother, more efficient coding experiences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50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rPr>
              <a:t>Receive context-aware recommendations tailored to your specific project, reducing errors and boosting productivity.</a:t>
            </a:r>
            <a:endParaRPr lang="en-US" sz="1050">
              <a:solidFill>
                <a:schemeClr val="tx1"/>
              </a:solidFill>
            </a:endParaRPr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60F0DF2E-7D10-D197-E280-115B5DB7DC0B}"/>
              </a:ext>
            </a:extLst>
          </p:cNvPr>
          <p:cNvSpPr/>
          <p:nvPr/>
        </p:nvSpPr>
        <p:spPr>
          <a:xfrm>
            <a:off x="2241355" y="4287711"/>
            <a:ext cx="783758" cy="109856"/>
          </a:xfrm>
          <a:prstGeom prst="rightArrow">
            <a:avLst/>
          </a:prstGeom>
          <a:solidFill>
            <a:schemeClr val="accent4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A0A7E943-7AA3-B597-3B76-1519FBB93074}"/>
              </a:ext>
            </a:extLst>
          </p:cNvPr>
          <p:cNvSpPr/>
          <p:nvPr/>
        </p:nvSpPr>
        <p:spPr>
          <a:xfrm>
            <a:off x="3515173" y="4353959"/>
            <a:ext cx="2395728" cy="2281451"/>
          </a:xfrm>
          <a:prstGeom prst="roundRect">
            <a:avLst/>
          </a:prstGeom>
          <a:noFill/>
          <a:ln w="1016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50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rPr>
              <a:t>Repository of cloud-native patterns which serves as a valuable knowledge hub, offering developers proven and optimized solutions for common challenges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50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rPr>
              <a:t>Reusable, battle-tested design principles and best practices, fostering consistency 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en-GB" sz="1050">
              <a:solidFill>
                <a:schemeClr val="tx2"/>
              </a:solidFill>
              <a:latin typeface="Georgia" panose="02040502050405020303" pitchFamily="18" charset="0"/>
              <a:ea typeface="+mj-ea"/>
              <a:cs typeface="+mj-cs"/>
            </a:endParaRPr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7C526121-5152-E6D8-49BF-63B623724EB5}"/>
              </a:ext>
            </a:extLst>
          </p:cNvPr>
          <p:cNvSpPr/>
          <p:nvPr/>
        </p:nvSpPr>
        <p:spPr>
          <a:xfrm>
            <a:off x="5482491" y="4285513"/>
            <a:ext cx="533400" cy="132498"/>
          </a:xfrm>
          <a:prstGeom prst="rightArrow">
            <a:avLst/>
          </a:prstGeom>
          <a:solidFill>
            <a:schemeClr val="accent2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98E5C09-1948-0D3F-B463-3540EFDB6142}"/>
              </a:ext>
            </a:extLst>
          </p:cNvPr>
          <p:cNvSpPr/>
          <p:nvPr/>
        </p:nvSpPr>
        <p:spPr>
          <a:xfrm>
            <a:off x="6386835" y="4353959"/>
            <a:ext cx="2395728" cy="2281451"/>
          </a:xfrm>
          <a:prstGeom prst="roundRect">
            <a:avLst/>
          </a:prstGeom>
          <a:noFill/>
          <a:ln w="1016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50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rPr>
              <a:t>Synthetic data generator which provides realistic and privacy-compliant data sets, enabling efficient testing and development without exposing sensitive information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50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rPr>
              <a:t>Mimics the characteristics of real data, facilitating faster iteration cycles, reducing dependencies on live data</a:t>
            </a:r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268F28DB-FD83-EA15-561C-9D0DA9B4C028}"/>
              </a:ext>
            </a:extLst>
          </p:cNvPr>
          <p:cNvSpPr/>
          <p:nvPr/>
        </p:nvSpPr>
        <p:spPr>
          <a:xfrm>
            <a:off x="8370417" y="4285513"/>
            <a:ext cx="533400" cy="132498"/>
          </a:xfrm>
          <a:prstGeom prst="rightArrow">
            <a:avLst/>
          </a:prstGeom>
          <a:solidFill>
            <a:schemeClr val="bg2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6D2DA5BD-C211-19D2-0D8F-68695B71D912}"/>
              </a:ext>
            </a:extLst>
          </p:cNvPr>
          <p:cNvSpPr/>
          <p:nvPr/>
        </p:nvSpPr>
        <p:spPr>
          <a:xfrm>
            <a:off x="9271761" y="4362107"/>
            <a:ext cx="2395728" cy="2281451"/>
          </a:xfrm>
          <a:prstGeom prst="roundRect">
            <a:avLst/>
          </a:prstGeom>
          <a:noFill/>
          <a:ln w="1016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50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rPr>
              <a:t>AI based plugin which automates the generation of </a:t>
            </a:r>
            <a:r>
              <a:rPr lang="en-US" sz="1050" err="1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rPr>
              <a:t>IaC</a:t>
            </a:r>
            <a:r>
              <a:rPr lang="en-US" sz="1050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rPr>
              <a:t>, enabling rapid provisioning &amp; configuration of cloud resources 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GB" sz="1050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rPr>
              <a:t>Analyses project requirements and architectural patterns, providing intelligent suggestions and code snippets</a:t>
            </a: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780A7B0C-8538-92DC-2879-B620E1CBFCA9}"/>
              </a:ext>
            </a:extLst>
          </p:cNvPr>
          <p:cNvSpPr/>
          <p:nvPr/>
        </p:nvSpPr>
        <p:spPr>
          <a:xfrm>
            <a:off x="11213398" y="4305390"/>
            <a:ext cx="533400" cy="132498"/>
          </a:xfrm>
          <a:prstGeom prst="rightArrow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7EFD388-A508-6A57-526B-3AE5AD5071DF}"/>
              </a:ext>
            </a:extLst>
          </p:cNvPr>
          <p:cNvSpPr txBox="1"/>
          <p:nvPr/>
        </p:nvSpPr>
        <p:spPr>
          <a:xfrm>
            <a:off x="782182" y="4020243"/>
            <a:ext cx="197487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lang="en-US" sz="1200" b="1" kern="0">
                <a:solidFill>
                  <a:schemeClr val="tx2"/>
                </a:solidFill>
                <a:latin typeface="+mj-lt"/>
                <a:ea typeface="ＭＳ Ｐゴシック"/>
              </a:rPr>
              <a:t>IDE Plugin</a:t>
            </a:r>
            <a:endParaRPr lang="en-US" sz="120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46A745D-EF4E-D3F3-7CBE-0694405DF74A}"/>
              </a:ext>
            </a:extLst>
          </p:cNvPr>
          <p:cNvSpPr txBox="1"/>
          <p:nvPr/>
        </p:nvSpPr>
        <p:spPr>
          <a:xfrm>
            <a:off x="3753202" y="4020243"/>
            <a:ext cx="197487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lang="en-US" sz="1200" b="1" kern="0">
                <a:solidFill>
                  <a:schemeClr val="tx2"/>
                </a:solidFill>
                <a:latin typeface="+mj-lt"/>
                <a:ea typeface="ＭＳ Ｐゴシック"/>
              </a:rPr>
              <a:t>Cloud Native Patterns</a:t>
            </a:r>
            <a:endParaRPr lang="en-US" sz="120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D00336B-DA4D-8A6F-D4B1-0A774496FCF7}"/>
              </a:ext>
            </a:extLst>
          </p:cNvPr>
          <p:cNvSpPr txBox="1"/>
          <p:nvPr/>
        </p:nvSpPr>
        <p:spPr>
          <a:xfrm>
            <a:off x="6531090" y="4020243"/>
            <a:ext cx="22514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lang="en-US" sz="1200" b="1" kern="0">
                <a:solidFill>
                  <a:schemeClr val="tx2"/>
                </a:solidFill>
                <a:latin typeface="+mj-lt"/>
                <a:ea typeface="ＭＳ Ｐゴシック"/>
              </a:rPr>
              <a:t>Synthetic Data Generator </a:t>
            </a:r>
            <a:endParaRPr lang="en-US" sz="120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3CD4059-39A0-A5F9-E8F9-6E2ABD67D010}"/>
              </a:ext>
            </a:extLst>
          </p:cNvPr>
          <p:cNvSpPr txBox="1"/>
          <p:nvPr/>
        </p:nvSpPr>
        <p:spPr>
          <a:xfrm>
            <a:off x="9448349" y="4020243"/>
            <a:ext cx="22514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Aft>
                <a:spcPts val="600"/>
              </a:spcAft>
              <a:buClr>
                <a:schemeClr val="accent1"/>
              </a:buClr>
              <a:defRPr/>
            </a:pPr>
            <a:r>
              <a:rPr lang="en-US" sz="1200" b="1" kern="0" err="1">
                <a:solidFill>
                  <a:schemeClr val="tx2"/>
                </a:solidFill>
                <a:latin typeface="+mj-lt"/>
                <a:ea typeface="ＭＳ Ｐゴシック"/>
              </a:rPr>
              <a:t>IaC</a:t>
            </a:r>
            <a:r>
              <a:rPr lang="en-US" sz="1200" b="1" kern="0">
                <a:solidFill>
                  <a:schemeClr val="tx2"/>
                </a:solidFill>
                <a:latin typeface="+mj-lt"/>
                <a:ea typeface="ＭＳ Ｐゴシック"/>
              </a:rPr>
              <a:t> Generator</a:t>
            </a:r>
            <a:endParaRPr lang="en-US" sz="120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9615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60cf1f57-96f0-41c5-80b0-6bdd055b943f"/>
  <p:tag name="MIO_UPDATE" val="True"/>
  <p:tag name="MIO_VERSION" val="28.12.2020 13:34:11"/>
  <p:tag name="MIO_DBID" val="B8FCB12D-AF03-49EB-9F79-BB019BE99E1E"/>
  <p:tag name="MIO_LASTDOWNLOADED" val="28.12.2020 18:24:09.936"/>
  <p:tag name="MIO_OBJECTNAME" val="G"/>
  <p:tag name="MIO_CDID" val="3d435a17-43bc-49ce-8c2a-a6b042be0530"/>
  <p:tag name="MIO_FALLBACK_LAYOUT" val="16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9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"/>
</p:tagLst>
</file>

<file path=ppt/theme/theme1.xml><?xml version="1.0" encoding="utf-8"?>
<a:theme xmlns:a="http://schemas.openxmlformats.org/drawingml/2006/main" name="Light Theme">
  <a:themeElements>
    <a:clrScheme name="Custom 2">
      <a:dk1>
        <a:srgbClr val="000000"/>
      </a:dk1>
      <a:lt1>
        <a:srgbClr val="FFFFFF"/>
      </a:lt1>
      <a:dk2>
        <a:srgbClr val="021D44"/>
      </a:dk2>
      <a:lt2>
        <a:srgbClr val="798399"/>
      </a:lt2>
      <a:accent1>
        <a:srgbClr val="00AECF"/>
      </a:accent1>
      <a:accent2>
        <a:srgbClr val="FF555F"/>
      </a:accent2>
      <a:accent3>
        <a:srgbClr val="073262"/>
      </a:accent3>
      <a:accent4>
        <a:srgbClr val="007199"/>
      </a:accent4>
      <a:accent5>
        <a:srgbClr val="894560"/>
      </a:accent5>
      <a:accent6>
        <a:srgbClr val="10548C"/>
      </a:accent6>
      <a:hlink>
        <a:srgbClr val="10548C"/>
      </a:hlink>
      <a:folHlink>
        <a:srgbClr val="894560"/>
      </a:folHlink>
    </a:clrScheme>
    <a:fontScheme name="Genpact theme 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45720" rIns="91440" bIns="45720" rtlCol="0" anchor="t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13604700-1A8D-4B95-ADD8-F0A13CF8B34E}" vid="{EF334700-B2BC-40B9-AE70-58AA277D7189}"/>
    </a:ext>
  </a:extLst>
</a:theme>
</file>

<file path=ppt/theme/theme2.xml><?xml version="1.0" encoding="utf-8"?>
<a:theme xmlns:a="http://schemas.openxmlformats.org/drawingml/2006/main" name="Genpact">
  <a:themeElements>
    <a:clrScheme name="Custom 2">
      <a:dk1>
        <a:srgbClr val="000000"/>
      </a:dk1>
      <a:lt1>
        <a:srgbClr val="FFFFFF"/>
      </a:lt1>
      <a:dk2>
        <a:srgbClr val="021D44"/>
      </a:dk2>
      <a:lt2>
        <a:srgbClr val="798399"/>
      </a:lt2>
      <a:accent1>
        <a:srgbClr val="00AECF"/>
      </a:accent1>
      <a:accent2>
        <a:srgbClr val="FF555F"/>
      </a:accent2>
      <a:accent3>
        <a:srgbClr val="073262"/>
      </a:accent3>
      <a:accent4>
        <a:srgbClr val="007199"/>
      </a:accent4>
      <a:accent5>
        <a:srgbClr val="894560"/>
      </a:accent5>
      <a:accent6>
        <a:srgbClr val="10548C"/>
      </a:accent6>
      <a:hlink>
        <a:srgbClr val="10548C"/>
      </a:hlink>
      <a:folHlink>
        <a:srgbClr val="894560"/>
      </a:folHlink>
    </a:clrScheme>
    <a:fontScheme name="Genpact theme 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90000" tIns="45720" rIns="91440" bIns="45720" rtlCol="0" anchor="t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.pptx" id="{8947D1FA-D558-4397-9DEC-F51A546E4522}" vid="{5FDE3245-4D5E-4FC7-81BA-CFDB4C0A125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A2F06B3E7566745BD42F2B0DA3F9DA5" ma:contentTypeVersion="42" ma:contentTypeDescription="Create a new document." ma:contentTypeScope="" ma:versionID="115bec0a1451ec20119c0bb19bef9842">
  <xsd:schema xmlns:xsd="http://www.w3.org/2001/XMLSchema" xmlns:xs="http://www.w3.org/2001/XMLSchema" xmlns:p="http://schemas.microsoft.com/office/2006/metadata/properties" xmlns:ns2="c42614d4-0c85-44d4-9d3a-9a4ea77a6f52" xmlns:ns3="391459f0-958d-4a31-99da-83f16fb02873" targetNamespace="http://schemas.microsoft.com/office/2006/metadata/properties" ma:root="true" ma:fieldsID="a5713a1098c70b5f9510e4a15ec25823" ns2:_="" ns3:_="">
    <xsd:import namespace="c42614d4-0c85-44d4-9d3a-9a4ea77a6f52"/>
    <xsd:import namespace="391459f0-958d-4a31-99da-83f16fb02873"/>
    <xsd:element name="properties">
      <xsd:complexType>
        <xsd:sequence>
          <xsd:element name="documentManagement">
            <xsd:complexType>
              <xsd:all>
                <xsd:element ref="ns2:Customer" minOccurs="0"/>
                <xsd:element ref="ns2:Vertical" minOccurs="0"/>
                <xsd:element ref="ns2:GENAIOpportunityScope" minOccurs="0"/>
                <xsd:element ref="ns2:Solution" minOccurs="0"/>
                <xsd:element ref="ns2:Levelofadoption" minOccurs="0"/>
                <xsd:element ref="ns2:Comments" minOccurs="0"/>
                <xsd:element ref="ns2:POC" minOccurs="0"/>
                <xsd:element ref="ns2:Champion" minOccurs="0"/>
                <xsd:element ref="ns2:SolutionType" minOccurs="0"/>
                <xsd:element ref="ns2:_x0054_op35" minOccurs="0"/>
                <xsd:element ref="ns2:OwnerName" minOccurs="0"/>
                <xsd:element ref="ns2:OpportunityStage" minOccurs="0"/>
                <xsd:element ref="ns2:Risks_x002f_Issues" minOccurs="0"/>
                <xsd:element ref="ns2:NextSteps" minOccurs="0"/>
                <xsd:element ref="ns2:Comments0" minOccurs="0"/>
                <xsd:element ref="ns2:LDTBBName" minOccurs="0"/>
                <xsd:element ref="ns2:GenAI_x0020_Product_x0020_name" minOccurs="0"/>
                <xsd:element ref="ns2:BusinessImpact" minOccurs="0"/>
                <xsd:element ref="ns2:Unit" minOccurs="0"/>
                <xsd:element ref="ns2:ServiceLine" minOccurs="0"/>
                <xsd:element ref="ns2:GLCStatus" minOccurs="0"/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BusinessEntity" minOccurs="0"/>
                <xsd:element ref="ns2:FTEincludedinSolu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2614d4-0c85-44d4-9d3a-9a4ea77a6f52" elementFormDefault="qualified">
    <xsd:import namespace="http://schemas.microsoft.com/office/2006/documentManagement/types"/>
    <xsd:import namespace="http://schemas.microsoft.com/office/infopath/2007/PartnerControls"/>
    <xsd:element name="Customer" ma:index="2" nillable="true" ma:displayName="Account Name" ma:format="Dropdown" ma:internalName="Customer">
      <xsd:simpleType>
        <xsd:restriction base="dms:Text">
          <xsd:maxLength value="255"/>
        </xsd:restriction>
      </xsd:simpleType>
    </xsd:element>
    <xsd:element name="Vertical" ma:index="3" nillable="true" ma:displayName="Vertical" ma:format="Dropdown" ma:internalName="Vertical">
      <xsd:simpleType>
        <xsd:restriction base="dms:Choice">
          <xsd:enumeration value="FS"/>
          <xsd:enumeration value="C&amp;H"/>
          <xsd:enumeration value="HMS"/>
          <xsd:enumeration value="All"/>
        </xsd:restriction>
      </xsd:simpleType>
    </xsd:element>
    <xsd:element name="GENAIOpportunityScope" ma:index="4" nillable="true" ma:displayName="GEN AI Opportunity Scope" ma:format="Dropdown" ma:internalName="GENAIOpportunityScope">
      <xsd:simpleType>
        <xsd:restriction base="dms:Choice">
          <xsd:enumeration value="Internal"/>
          <xsd:enumeration value="External"/>
        </xsd:restriction>
      </xsd:simpleType>
    </xsd:element>
    <xsd:element name="Solution" ma:index="5" nillable="true" ma:displayName="Solution" ma:format="Dropdown" ma:internalName="Solution">
      <xsd:simpleType>
        <xsd:restriction base="dms:Note">
          <xsd:maxLength value="255"/>
        </xsd:restriction>
      </xsd:simpleType>
    </xsd:element>
    <xsd:element name="Levelofadoption" ma:index="6" nillable="true" ma:displayName="Level of adoption" ma:description="The current level of client adoption our GenAI solutions. &#10;L1 - Low level. 1-2 use cases.&#10;L2 - Medium level. ~ half of the use cases. &#10;L3 - High level.  Full SDLC adoption." ma:format="Dropdown" ma:internalName="Levelofadoption">
      <xsd:simpleType>
        <xsd:restriction base="dms:Choice">
          <xsd:enumeration value="L1 - Low level. 1-2 use cases."/>
          <xsd:enumeration value="L2 - Medium level. Few use cases. "/>
          <xsd:enumeration value="L3 - High level.  Full SDLC adoption"/>
        </xsd:restriction>
      </xsd:simpleType>
    </xsd:element>
    <xsd:element name="Comments" ma:index="7" nillable="true" ma:displayName="Progress" ma:format="Dropdown" ma:internalName="Comments">
      <xsd:simpleType>
        <xsd:restriction base="dms:Note">
          <xsd:maxLength value="255"/>
        </xsd:restriction>
      </xsd:simpleType>
    </xsd:element>
    <xsd:element name="POC" ma:index="8" nillable="true" ma:displayName="EM/Delivery/Account Lead" ma:format="Dropdown" ma:internalName="POC">
      <xsd:simpleType>
        <xsd:restriction base="dms:Note">
          <xsd:maxLength value="255"/>
        </xsd:restriction>
      </xsd:simpleType>
    </xsd:element>
    <xsd:element name="Champion" ma:index="10" nillable="true" ma:displayName="Account Type" ma:format="Dropdown" ma:internalName="Champion">
      <xsd:simpleType>
        <xsd:restriction base="dms:Choice">
          <xsd:enumeration value="Champion"/>
        </xsd:restriction>
      </xsd:simpleType>
    </xsd:element>
    <xsd:element name="SolutionType" ma:index="11" nillable="true" ma:displayName="Solution Type" ma:description="Type 1, we should track where is client wrt letting our teams use the GenAI tools for SDLC because we are dependent  on their approvals e.g. MS&#10;Type 2, we have control and can setup an environment or play a major role in shaping their journey and hence can use GenAI for SDLC&#10;Type 3, where we have complete control and can use GenAI for SDLC as long as our internal infosec allows (process underway)" ma:format="Dropdown" ma:internalName="SolutionType">
      <xsd:simpleType>
        <xsd:restriction base="dms:Choice">
          <xsd:enumeration value="Type 1-Client Env"/>
          <xsd:enumeration value="Type 2-Hybrid"/>
          <xsd:enumeration value="Type 3-Genpact Env"/>
        </xsd:restriction>
      </xsd:simpleType>
    </xsd:element>
    <xsd:element name="_x0054_op35" ma:index="12" nillable="true" ma:displayName="Top 35" ma:default="1" ma:format="Dropdown" ma:internalName="_x0054_op35">
      <xsd:simpleType>
        <xsd:restriction base="dms:Boolean"/>
      </xsd:simpleType>
    </xsd:element>
    <xsd:element name="OwnerName" ma:index="13" nillable="true" ma:displayName="Owner Name" ma:format="Dropdown" ma:internalName="OwnerName">
      <xsd:simpleType>
        <xsd:restriction base="dms:Text">
          <xsd:maxLength value="255"/>
        </xsd:restriction>
      </xsd:simpleType>
    </xsd:element>
    <xsd:element name="OpportunityStage" ma:index="14" nillable="true" ma:displayName="Opportunity Status" ma:format="Dropdown" ma:internalName="OpportunityStag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3.POC In Progress"/>
                    <xsd:enumeration value="4.POC Completed"/>
                    <xsd:enumeration value="6a.Opportunity Rejected"/>
                    <xsd:enumeration value="6b.Client Sign Off/Approval"/>
                    <xsd:enumeration value="7a.SOW -Sign Off- Completed (External)"/>
                    <xsd:enumeration value="8.Implementation"/>
                    <xsd:enumeration value="9.Deployment Completed"/>
                    <xsd:enumeration value="11.Business Impact- Sign off"/>
                    <xsd:enumeration value="1.Opportunity Exploration"/>
                    <xsd:enumeration value="5.Client Demo"/>
                    <xsd:enumeration value="2.Use case Finalization"/>
                    <xsd:enumeration value="10.Go Live-Production"/>
                    <xsd:enumeration value="7b.RFI/RFP"/>
                    <xsd:enumeration value="12.On Hold"/>
                    <xsd:enumeration value="13.Dropped"/>
                  </xsd:restriction>
                </xsd:simpleType>
              </xsd:element>
            </xsd:sequence>
          </xsd:extension>
        </xsd:complexContent>
      </xsd:complexType>
    </xsd:element>
    <xsd:element name="Risks_x002f_Issues" ma:index="15" nillable="true" ma:displayName="Risks/Issues" ma:description="Pl capture any risks/Issues/Challanges the team in facing in Gen AI adoption/deployment." ma:format="Dropdown" ma:internalName="Risks_x002f_Issues">
      <xsd:simpleType>
        <xsd:restriction base="dms:Note">
          <xsd:maxLength value="255"/>
        </xsd:restriction>
      </xsd:simpleType>
    </xsd:element>
    <xsd:element name="NextSteps" ma:index="16" nillable="true" ma:displayName="Next Steps" ma:description="Highlight the actions planned for the week." ma:format="Dropdown" ma:internalName="NextSteps">
      <xsd:simpleType>
        <xsd:restriction base="dms:Note">
          <xsd:maxLength value="255"/>
        </xsd:restriction>
      </xsd:simpleType>
    </xsd:element>
    <xsd:element name="Comments0" ma:index="17" nillable="true" ma:displayName="Comments" ma:description="Pl capture any additional Information." ma:format="Dropdown" ma:internalName="Comments0">
      <xsd:simpleType>
        <xsd:restriction base="dms:Note">
          <xsd:maxLength value="255"/>
        </xsd:restriction>
      </xsd:simpleType>
    </xsd:element>
    <xsd:element name="LDTBBName" ma:index="18" nillable="true" ma:displayName="LDT BB Name" ma:format="Dropdown" ma:internalName="LDTBBName">
      <xsd:simpleType>
        <xsd:restriction base="dms:Choice">
          <xsd:enumeration value="Anitha Phillip"/>
          <xsd:enumeration value="Shagun Mangala"/>
          <xsd:enumeration value="Shweta Thacker"/>
          <xsd:enumeration value="Kuljyoti Sahni"/>
          <xsd:enumeration value="Prasanna Govada"/>
          <xsd:enumeration value="Harish Punreddy"/>
          <xsd:enumeration value="Rajitha Rani"/>
          <xsd:enumeration value="Shalini Akunur"/>
          <xsd:enumeration value="Aditya Nautiyal"/>
          <xsd:enumeration value="Subhasini Krishna"/>
          <xsd:enumeration value="Krishna Kumar KV"/>
          <xsd:enumeration value="Kapil Sood"/>
          <xsd:enumeration value="Sumati Anand"/>
          <xsd:enumeration value="Melo Medina"/>
        </xsd:restriction>
      </xsd:simpleType>
    </xsd:element>
    <xsd:element name="GenAI_x0020_Product_x0020_name" ma:index="19" nillable="true" ma:displayName="GenAI Product name" ma:format="Dropdown" ma:internalName="GenAI_x0020_Product_x0020_name">
      <xsd:simpleType>
        <xsd:restriction base="dms:Choice">
          <xsd:enumeration value="CORA Code GenY"/>
          <xsd:enumeration value="Cora Code GenY (SDLC Accelerator - Salesforce)"/>
          <xsd:enumeration value="CORA Knowledge Assist (ProdAssist)"/>
          <xsd:enumeration value="Custom"/>
          <xsd:enumeration value="GenAIOps"/>
          <xsd:enumeration value="CORA Knowledge Assist (AgentAssist)"/>
          <xsd:enumeration value="CORA Knowledge Assist"/>
          <xsd:enumeration value="GenLearn-PKT"/>
          <xsd:enumeration value="GenAI in FCRM"/>
        </xsd:restriction>
      </xsd:simpleType>
    </xsd:element>
    <xsd:element name="BusinessImpact" ma:index="20" nillable="true" ma:displayName="Business Impact" ma:format="Dropdown" ma:internalName="BusinessImpact">
      <xsd:simpleType>
        <xsd:restriction base="dms:Note">
          <xsd:maxLength value="255"/>
        </xsd:restriction>
      </xsd:simpleType>
    </xsd:element>
    <xsd:element name="Unit" ma:index="21" nillable="true" ma:displayName="Unit" ma:format="Dropdown" ma:internalName="Unit">
      <xsd:simpleType>
        <xsd:restriction base="dms:Choice">
          <xsd:enumeration value="BCM-NAM"/>
          <xsd:enumeration value="BCM-Europe"/>
          <xsd:enumeration value="BCM-APAC"/>
          <xsd:enumeration value="Insurance"/>
          <xsd:enumeration value="Life Sciences"/>
          <xsd:enumeration value="Consumer Goods"/>
          <xsd:enumeration value="Health Care"/>
          <xsd:enumeration value="Retail"/>
          <xsd:enumeration value="Coke Eco System"/>
          <xsd:enumeration value="Manufacturing"/>
          <xsd:enumeration value="Hi-Tech SW"/>
          <xsd:enumeration value="Hi Tech HW"/>
          <xsd:enumeration value="All"/>
          <xsd:enumeration value="Unilever"/>
        </xsd:restriction>
      </xsd:simpleType>
    </xsd:element>
    <xsd:element name="ServiceLine" ma:index="22" nillable="true" ma:displayName="ServiceLine" ma:format="Dropdown" ma:internalName="ServiceLine">
      <xsd:simpleType>
        <xsd:restriction base="dms:Choice">
          <xsd:enumeration value="Digital"/>
          <xsd:enumeration value="ADM"/>
          <xsd:enumeration value="Oracle"/>
          <xsd:enumeration value="SAP"/>
          <xsd:enumeration value="ITMS"/>
          <xsd:enumeration value="Digital-RPA"/>
          <xsd:enumeration value="Digital-Orchestration"/>
          <xsd:enumeration value="Digital-CORAAI"/>
          <xsd:enumeration value="Digital-F&amp;A"/>
          <xsd:enumeration value="APS"/>
          <xsd:enumeration value="Digital-Shared Service"/>
          <xsd:enumeration value="Digital-Service Now"/>
          <xsd:enumeration value="Digital-CMV"/>
          <xsd:enumeration value="Digital-AP Flow"/>
          <xsd:enumeration value="Digital-High Radius"/>
          <xsd:enumeration value="QA"/>
        </xsd:restriction>
      </xsd:simpleType>
    </xsd:element>
    <xsd:element name="GLCStatus" ma:index="23" nillable="true" ma:displayName="GLC Status" ma:format="Dropdown" ma:internalName="GLCStatus">
      <xsd:simpleType>
        <xsd:restriction base="dms:Choice">
          <xsd:enumeration value="Conversations - Underway"/>
          <xsd:enumeration value="Conversations - Planned next 6 weeks"/>
          <xsd:enumeration value="Conversions - LOS 12 weeks"/>
          <xsd:enumeration value="Deployed"/>
          <xsd:enumeration value="Dropped"/>
          <xsd:enumeration value="OnHold"/>
          <xsd:enumeration value="Conversions - Inflight"/>
        </xsd:restriction>
      </xsd:simpleType>
    </xsd:element>
    <xsd:element name="MediaServiceMetadata" ma:index="27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8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2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3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3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3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3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34" nillable="true" ma:taxonomy="true" ma:internalName="lcf76f155ced4ddcb4097134ff3c332f" ma:taxonomyFieldName="MediaServiceImageTags" ma:displayName="Image Tags" ma:readOnly="false" ma:fieldId="{5cf76f15-5ced-4ddc-b409-7134ff3c332f}" ma:taxonomyMulti="true" ma:sspId="cc962de5-690c-40f6-9925-46ff4f3fc18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3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3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BusinessEntity" ma:index="43" nillable="true" ma:displayName="Business Entity" ma:format="Dropdown" ma:internalName="BusinessEntity">
      <xsd:simpleType>
        <xsd:restriction base="dms:Choice">
          <xsd:enumeration value="Tech Services"/>
          <xsd:enumeration value="Data Engg"/>
        </xsd:restriction>
      </xsd:simpleType>
    </xsd:element>
    <xsd:element name="FTEincludedinSolution" ma:index="44" nillable="true" ma:displayName="FTE included in Solution" ma:description="# of uses using the solution" ma:format="Dropdown" ma:internalName="FTEincludedinSolution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1459f0-958d-4a31-99da-83f16fb02873" elementFormDefault="qualified">
    <xsd:import namespace="http://schemas.microsoft.com/office/2006/documentManagement/types"/>
    <xsd:import namespace="http://schemas.microsoft.com/office/infopath/2007/PartnerControls"/>
    <xsd:element name="TaxCatchAll" ma:index="35" nillable="true" ma:displayName="Taxonomy Catch All Column" ma:hidden="true" ma:list="{843546b8-87ac-4bd9-9700-405c98f4dd97}" ma:internalName="TaxCatchAll" ma:showField="CatchAllData" ma:web="391459f0-958d-4a31-99da-83f16fb0287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3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0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91459f0-958d-4a31-99da-83f16fb02873">
      <UserInfo>
        <DisplayName>Thomas Maria Louis, Vinoth</DisplayName>
        <AccountId>3373</AccountId>
        <AccountType/>
      </UserInfo>
      <UserInfo>
        <DisplayName>Pisupati, Bhaskar</DisplayName>
        <AccountId>2204</AccountId>
        <AccountType/>
      </UserInfo>
      <UserInfo>
        <DisplayName>Machiraju, Subbaraju</DisplayName>
        <AccountId>2076</AccountId>
        <AccountType/>
      </UserInfo>
      <UserInfo>
        <DisplayName>Kumar Gupta, Sunil</DisplayName>
        <AccountId>2179</AccountId>
        <AccountType/>
      </UserInfo>
      <UserInfo>
        <DisplayName>Patnaik, Shashikant</DisplayName>
        <AccountId>2073</AccountId>
        <AccountType/>
      </UserInfo>
      <UserInfo>
        <DisplayName>Sahu, Arun</DisplayName>
        <AccountId>2526</AccountId>
        <AccountType/>
      </UserInfo>
      <UserInfo>
        <DisplayName>Agarwal, Divya A</DisplayName>
        <AccountId>3431</AccountId>
        <AccountType/>
      </UserInfo>
      <UserInfo>
        <DisplayName>J, Jiju</DisplayName>
        <AccountId>3432</AccountId>
        <AccountType/>
      </UserInfo>
      <UserInfo>
        <DisplayName>Kapila, Sridhar</DisplayName>
        <AccountId>2857</AccountId>
        <AccountType/>
      </UserInfo>
      <UserInfo>
        <DisplayName>R, Rekha</DisplayName>
        <AccountId>3447</AccountId>
        <AccountType/>
      </UserInfo>
      <UserInfo>
        <DisplayName>Mahendra, Ullas</DisplayName>
        <AccountId>3450</AccountId>
        <AccountType/>
      </UserInfo>
      <UserInfo>
        <DisplayName>Saxena, Piyush</DisplayName>
        <AccountId>1655</AccountId>
        <AccountType/>
      </UserInfo>
      <UserInfo>
        <DisplayName>Bhardwaj, Lalit</DisplayName>
        <AccountId>2238</AccountId>
        <AccountType/>
      </UserInfo>
      <UserInfo>
        <DisplayName>Rani, Rajitha</DisplayName>
        <AccountId>1436</AccountId>
        <AccountType/>
      </UserInfo>
      <UserInfo>
        <DisplayName>Majumder, Sonali</DisplayName>
        <AccountId>2838</AccountId>
        <AccountType/>
      </UserInfo>
      <UserInfo>
        <DisplayName>Bhandari, Henry</DisplayName>
        <AccountId>3458</AccountId>
        <AccountType/>
      </UserInfo>
      <UserInfo>
        <DisplayName>Gambhir, Abha A</DisplayName>
        <AccountId>3466</AccountId>
        <AccountType/>
      </UserInfo>
      <UserInfo>
        <DisplayName>Janardhan Reddy, Kodidela</DisplayName>
        <AccountId>3485</AccountId>
        <AccountType/>
      </UserInfo>
      <UserInfo>
        <DisplayName>Tsai, Ming Hsiun</DisplayName>
        <AccountId>3486</AccountId>
        <AccountType/>
      </UserInfo>
      <UserInfo>
        <DisplayName>SINGH, URVINDRA</DisplayName>
        <AccountId>3491</AccountId>
        <AccountType/>
      </UserInfo>
      <UserInfo>
        <DisplayName>Thapa, Sabitri</DisplayName>
        <AccountId>3470</AccountId>
        <AccountType/>
      </UserInfo>
      <UserInfo>
        <DisplayName>N, Ananda</DisplayName>
        <AccountId>3492</AccountId>
        <AccountType/>
      </UserInfo>
      <UserInfo>
        <DisplayName>Sharma, Himanshu HAUS</DisplayName>
        <AccountId>3505</AccountId>
        <AccountType/>
      </UserInfo>
    </SharedWithUsers>
    <TaxCatchAll xmlns="391459f0-958d-4a31-99da-83f16fb02873" xsi:nil="true"/>
    <BusinessImpact xmlns="c42614d4-0c85-44d4-9d3a-9a4ea77a6f52" xsi:nil="true"/>
    <Comments0 xmlns="c42614d4-0c85-44d4-9d3a-9a4ea77a6f52" xsi:nil="true"/>
    <OwnerName xmlns="c42614d4-0c85-44d4-9d3a-9a4ea77a6f52" xsi:nil="true"/>
    <SolutionType xmlns="c42614d4-0c85-44d4-9d3a-9a4ea77a6f52" xsi:nil="true"/>
    <Champion xmlns="c42614d4-0c85-44d4-9d3a-9a4ea77a6f52" xsi:nil="true"/>
    <Customer xmlns="c42614d4-0c85-44d4-9d3a-9a4ea77a6f52" xsi:nil="true"/>
    <Comments xmlns="c42614d4-0c85-44d4-9d3a-9a4ea77a6f52" xsi:nil="true"/>
    <NextSteps xmlns="c42614d4-0c85-44d4-9d3a-9a4ea77a6f52" xsi:nil="true"/>
    <Vertical xmlns="c42614d4-0c85-44d4-9d3a-9a4ea77a6f52" xsi:nil="true"/>
    <GENAIOpportunityScope xmlns="c42614d4-0c85-44d4-9d3a-9a4ea77a6f52" xsi:nil="true"/>
    <LDTBBName xmlns="c42614d4-0c85-44d4-9d3a-9a4ea77a6f52" xsi:nil="true"/>
    <POC xmlns="c42614d4-0c85-44d4-9d3a-9a4ea77a6f52" xsi:nil="true"/>
    <Levelofadoption xmlns="c42614d4-0c85-44d4-9d3a-9a4ea77a6f52" xsi:nil="true"/>
    <OpportunityStage xmlns="c42614d4-0c85-44d4-9d3a-9a4ea77a6f52" xsi:nil="true"/>
    <Risks_x002f_Issues xmlns="c42614d4-0c85-44d4-9d3a-9a4ea77a6f52" xsi:nil="true"/>
    <Solution xmlns="c42614d4-0c85-44d4-9d3a-9a4ea77a6f52" xsi:nil="true"/>
    <_x0054_op35 xmlns="c42614d4-0c85-44d4-9d3a-9a4ea77a6f52">true</_x0054_op35>
    <lcf76f155ced4ddcb4097134ff3c332f xmlns="c42614d4-0c85-44d4-9d3a-9a4ea77a6f52">
      <Terms xmlns="http://schemas.microsoft.com/office/infopath/2007/PartnerControls"/>
    </lcf76f155ced4ddcb4097134ff3c332f>
    <GenAI_x0020_Product_x0020_name xmlns="c42614d4-0c85-44d4-9d3a-9a4ea77a6f52" xsi:nil="true"/>
    <MediaLengthInSeconds xmlns="c42614d4-0c85-44d4-9d3a-9a4ea77a6f52" xsi:nil="true"/>
    <Unit xmlns="c42614d4-0c85-44d4-9d3a-9a4ea77a6f52" xsi:nil="true"/>
    <ServiceLine xmlns="c42614d4-0c85-44d4-9d3a-9a4ea77a6f52" xsi:nil="true"/>
    <GLCStatus xmlns="c42614d4-0c85-44d4-9d3a-9a4ea77a6f52" xsi:nil="true"/>
    <BusinessEntity xmlns="c42614d4-0c85-44d4-9d3a-9a4ea77a6f52" xsi:nil="true"/>
    <FTEincludedinSolution xmlns="c42614d4-0c85-44d4-9d3a-9a4ea77a6f52" xsi:nil="true"/>
  </documentManagement>
</p:properties>
</file>

<file path=customXml/itemProps1.xml><?xml version="1.0" encoding="utf-8"?>
<ds:datastoreItem xmlns:ds="http://schemas.openxmlformats.org/officeDocument/2006/customXml" ds:itemID="{2F33E9AF-5C5B-4B7F-A8DF-47092DF7B3E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8EC7164-48F5-4292-8F24-1F42ECC1D5BE}"/>
</file>

<file path=customXml/itemProps3.xml><?xml version="1.0" encoding="utf-8"?>
<ds:datastoreItem xmlns:ds="http://schemas.openxmlformats.org/officeDocument/2006/customXml" ds:itemID="{026564C4-C389-4B42-BCDC-CC5F0634A387}">
  <ds:schemaRefs>
    <ds:schemaRef ds:uri="http://purl.org/dc/dcmitype/"/>
    <ds:schemaRef ds:uri="http://purl.org/dc/terms/"/>
    <ds:schemaRef ds:uri="http://schemas.microsoft.com/office/2006/documentManagement/types"/>
    <ds:schemaRef ds:uri="c42614d4-0c85-44d4-9d3a-9a4ea77a6f52"/>
    <ds:schemaRef ds:uri="http://www.w3.org/XML/1998/namespace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391459f0-958d-4a31-99da-83f16fb02873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45</Words>
  <Application>Microsoft Office PowerPoint</Application>
  <PresentationFormat>Widescreen</PresentationFormat>
  <Paragraphs>193</Paragraphs>
  <Slides>8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Light Theme</vt:lpstr>
      <vt:lpstr>Genpact</vt:lpstr>
      <vt:lpstr>CORA Code GenY – Tech Services</vt:lpstr>
      <vt:lpstr>SDLC Life Cycle – Different Phases</vt:lpstr>
      <vt:lpstr>Accelerate Application Development with Generative AI - CORA Code GenY Accelerators</vt:lpstr>
      <vt:lpstr>CORA Code GenY Accelerators</vt:lpstr>
      <vt:lpstr> Development &amp; Testing Phase in SDLC</vt:lpstr>
      <vt:lpstr> CORA Code GenY Available Features </vt:lpstr>
      <vt:lpstr>PowerPoint Presentation</vt:lpstr>
      <vt:lpstr>CORA Code GenY accelerators to address these challenges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AI industrialization - Weekly Progress</dc:title>
  <dc:creator>Dheeraj Mehra</dc:creator>
  <cp:lastModifiedBy>Mehra, Dheeraj</cp:lastModifiedBy>
  <cp:revision>2</cp:revision>
  <dcterms:created xsi:type="dcterms:W3CDTF">2023-08-04T15:09:20Z</dcterms:created>
  <dcterms:modified xsi:type="dcterms:W3CDTF">2024-05-10T10:13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A2F06B3E7566745BD42F2B0DA3F9DA5</vt:lpwstr>
  </property>
  <property fmtid="{D5CDD505-2E9C-101B-9397-08002B2CF9AE}" pid="3" name="MediaServiceImageTags">
    <vt:lpwstr/>
  </property>
  <property fmtid="{D5CDD505-2E9C-101B-9397-08002B2CF9AE}" pid="4" name="Order">
    <vt:r8>3900</vt:r8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bool>false</vt:bool>
  </property>
</Properties>
</file>